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7FF646C7_EE6AB1E0.xml" ContentType="application/vnd.ms-powerpoint.comment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modernComment_7FF646BF_5A9266E0.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5"/>
  </p:sldMasterIdLst>
  <p:notesMasterIdLst>
    <p:notesMasterId r:id="rId52"/>
  </p:notesMasterIdLst>
  <p:sldIdLst>
    <p:sldId id="256" r:id="rId6"/>
    <p:sldId id="2146846337" r:id="rId7"/>
    <p:sldId id="2146846382" r:id="rId8"/>
    <p:sldId id="2146846414" r:id="rId9"/>
    <p:sldId id="2146846383" r:id="rId10"/>
    <p:sldId id="2146846408" r:id="rId11"/>
    <p:sldId id="2146846385" r:id="rId12"/>
    <p:sldId id="2146846415" r:id="rId13"/>
    <p:sldId id="2146846384" r:id="rId14"/>
    <p:sldId id="2146846420" r:id="rId15"/>
    <p:sldId id="2146846418" r:id="rId16"/>
    <p:sldId id="2146846387" r:id="rId17"/>
    <p:sldId id="2146846416" r:id="rId18"/>
    <p:sldId id="2146846430" r:id="rId19"/>
    <p:sldId id="2146846392" r:id="rId20"/>
    <p:sldId id="2146846400" r:id="rId21"/>
    <p:sldId id="2146846397" r:id="rId22"/>
    <p:sldId id="2146846424" r:id="rId23"/>
    <p:sldId id="2146846429" r:id="rId24"/>
    <p:sldId id="2146846405" r:id="rId25"/>
    <p:sldId id="2146846407" r:id="rId26"/>
    <p:sldId id="2146846433" r:id="rId27"/>
    <p:sldId id="2146846434" r:id="rId28"/>
    <p:sldId id="2146846412" r:id="rId29"/>
    <p:sldId id="2146846410" r:id="rId30"/>
    <p:sldId id="2146846411" r:id="rId31"/>
    <p:sldId id="2146846394" r:id="rId32"/>
    <p:sldId id="2146846390" r:id="rId33"/>
    <p:sldId id="2146846388" r:id="rId34"/>
    <p:sldId id="2146846393" r:id="rId35"/>
    <p:sldId id="2146846426" r:id="rId36"/>
    <p:sldId id="2146846389" r:id="rId37"/>
    <p:sldId id="2146846431" r:id="rId38"/>
    <p:sldId id="2146846427" r:id="rId39"/>
    <p:sldId id="2146846422" r:id="rId40"/>
    <p:sldId id="2146846401" r:id="rId41"/>
    <p:sldId id="2146846432" r:id="rId42"/>
    <p:sldId id="2146846428" r:id="rId43"/>
    <p:sldId id="2146846423" r:id="rId44"/>
    <p:sldId id="2146846421" r:id="rId45"/>
    <p:sldId id="2146846396" r:id="rId46"/>
    <p:sldId id="2146846398" r:id="rId47"/>
    <p:sldId id="2146846425" r:id="rId48"/>
    <p:sldId id="2146846435" r:id="rId49"/>
    <p:sldId id="2146846399" r:id="rId50"/>
    <p:sldId id="2146846404"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8F3B40-C875-95CD-54F4-9AD053BCD049}" name="Md Fahim Hasan" initials="MH" userId="S::mdfahim.hasan@bayer.com::92968fce-d4dd-4b9e-8635-66a07c9f98a7" providerId="AD"/>
  <p188:author id="{9103F856-72F8-ECA0-810E-0BEC36EF5530}" name="Ariel Wang" initials="AW" userId="S::ariel.wang@bayer.com::d2c7e74e-eae9-4734-a288-19d4dc96c99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9D2BE"/>
    <a:srgbClr val="DAE3F3"/>
    <a:srgbClr val="10384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6F4128-6482-4C75-8C7D-220A75826C22}" v="10" dt="2023-08-01T15:57:05.659"/>
    <p1510:client id="{805E2D26-AD9F-4F48-8080-6805F98BF371}" v="6" dt="2023-07-31T20:22:15.687"/>
    <p1510:client id="{9AFB84A3-21E9-DE0B-6B83-4CCB7BC01F10}" v="3" dt="2023-07-31T20:19:49.6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208" autoAdjust="0"/>
  </p:normalViewPr>
  <p:slideViewPr>
    <p:cSldViewPr snapToGrid="0">
      <p:cViewPr>
        <p:scale>
          <a:sx n="100" d="100"/>
          <a:sy n="100" d="100"/>
        </p:scale>
        <p:origin x="954" y="-3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d Fahim Hasan" userId="S::mdfahim.hasan@bayer.com::92968fce-d4dd-4b9e-8635-66a07c9f98a7" providerId="AD" clId="Web-{4CA7CF33-EBDC-4C62-B95F-8F2A33CB80EB}"/>
    <pc:docChg chg="modSld sldOrd">
      <pc:chgData name="Md Fahim Hasan" userId="S::mdfahim.hasan@bayer.com::92968fce-d4dd-4b9e-8635-66a07c9f98a7" providerId="AD" clId="Web-{4CA7CF33-EBDC-4C62-B95F-8F2A33CB80EB}" dt="2023-07-28T19:54:37.066" v="174" actId="1076"/>
      <pc:docMkLst>
        <pc:docMk/>
      </pc:docMkLst>
      <pc:sldChg chg="modSp">
        <pc:chgData name="Md Fahim Hasan" userId="S::mdfahim.hasan@bayer.com::92968fce-d4dd-4b9e-8635-66a07c9f98a7" providerId="AD" clId="Web-{4CA7CF33-EBDC-4C62-B95F-8F2A33CB80EB}" dt="2023-07-28T19:20:07.213" v="14" actId="20577"/>
        <pc:sldMkLst>
          <pc:docMk/>
          <pc:sldMk cId="592699982" sldId="2146846382"/>
        </pc:sldMkLst>
        <pc:spChg chg="mod">
          <ac:chgData name="Md Fahim Hasan" userId="S::mdfahim.hasan@bayer.com::92968fce-d4dd-4b9e-8635-66a07c9f98a7" providerId="AD" clId="Web-{4CA7CF33-EBDC-4C62-B95F-8F2A33CB80EB}" dt="2023-07-28T19:20:07.213" v="14" actId="20577"/>
          <ac:spMkLst>
            <pc:docMk/>
            <pc:sldMk cId="592699982" sldId="2146846382"/>
            <ac:spMk id="5" creationId="{6B0E3D4A-AE11-4EEE-47A3-F08F39D0D674}"/>
          </ac:spMkLst>
        </pc:spChg>
      </pc:sldChg>
      <pc:sldChg chg="modSp">
        <pc:chgData name="Md Fahim Hasan" userId="S::mdfahim.hasan@bayer.com::92968fce-d4dd-4b9e-8635-66a07c9f98a7" providerId="AD" clId="Web-{4CA7CF33-EBDC-4C62-B95F-8F2A33CB80EB}" dt="2023-07-28T19:21:09.526" v="26" actId="20577"/>
        <pc:sldMkLst>
          <pc:docMk/>
          <pc:sldMk cId="3666602129" sldId="2146846383"/>
        </pc:sldMkLst>
        <pc:spChg chg="mod">
          <ac:chgData name="Md Fahim Hasan" userId="S::mdfahim.hasan@bayer.com::92968fce-d4dd-4b9e-8635-66a07c9f98a7" providerId="AD" clId="Web-{4CA7CF33-EBDC-4C62-B95F-8F2A33CB80EB}" dt="2023-07-28T19:21:09.526" v="26" actId="20577"/>
          <ac:spMkLst>
            <pc:docMk/>
            <pc:sldMk cId="3666602129" sldId="2146846383"/>
            <ac:spMk id="9" creationId="{DCE765C9-F866-A10C-05BC-B0F5CF7D4FA9}"/>
          </ac:spMkLst>
        </pc:spChg>
      </pc:sldChg>
      <pc:sldChg chg="ord">
        <pc:chgData name="Md Fahim Hasan" userId="S::mdfahim.hasan@bayer.com::92968fce-d4dd-4b9e-8635-66a07c9f98a7" providerId="AD" clId="Web-{4CA7CF33-EBDC-4C62-B95F-8F2A33CB80EB}" dt="2023-07-28T19:31:02.647" v="30"/>
        <pc:sldMkLst>
          <pc:docMk/>
          <pc:sldMk cId="2477569122" sldId="2146846390"/>
        </pc:sldMkLst>
      </pc:sldChg>
      <pc:sldChg chg="addSp delSp modSp">
        <pc:chgData name="Md Fahim Hasan" userId="S::mdfahim.hasan@bayer.com::92968fce-d4dd-4b9e-8635-66a07c9f98a7" providerId="AD" clId="Web-{4CA7CF33-EBDC-4C62-B95F-8F2A33CB80EB}" dt="2023-07-28T19:42:59.567" v="89"/>
        <pc:sldMkLst>
          <pc:docMk/>
          <pc:sldMk cId="3999969760" sldId="2146846407"/>
        </pc:sldMkLst>
        <pc:spChg chg="add del mod">
          <ac:chgData name="Md Fahim Hasan" userId="S::mdfahim.hasan@bayer.com::92968fce-d4dd-4b9e-8635-66a07c9f98a7" providerId="AD" clId="Web-{4CA7CF33-EBDC-4C62-B95F-8F2A33CB80EB}" dt="2023-07-28T19:42:59.567" v="89"/>
          <ac:spMkLst>
            <pc:docMk/>
            <pc:sldMk cId="3999969760" sldId="2146846407"/>
            <ac:spMk id="4" creationId="{9989C9D1-EFD9-1CA5-2BF3-51EF33529323}"/>
          </ac:spMkLst>
        </pc:spChg>
        <pc:spChg chg="mod">
          <ac:chgData name="Md Fahim Hasan" userId="S::mdfahim.hasan@bayer.com::92968fce-d4dd-4b9e-8635-66a07c9f98a7" providerId="AD" clId="Web-{4CA7CF33-EBDC-4C62-B95F-8F2A33CB80EB}" dt="2023-07-28T19:42:31.582" v="82" actId="1076"/>
          <ac:spMkLst>
            <pc:docMk/>
            <pc:sldMk cId="3999969760" sldId="2146846407"/>
            <ac:spMk id="5" creationId="{54743D17-A5AC-78AC-4269-DC8CCBE26C14}"/>
          </ac:spMkLst>
        </pc:spChg>
      </pc:sldChg>
      <pc:sldChg chg="modSp">
        <pc:chgData name="Md Fahim Hasan" userId="S::mdfahim.hasan@bayer.com::92968fce-d4dd-4b9e-8635-66a07c9f98a7" providerId="AD" clId="Web-{4CA7CF33-EBDC-4C62-B95F-8F2A33CB80EB}" dt="2023-07-28T19:18:28.180" v="5" actId="20577"/>
        <pc:sldMkLst>
          <pc:docMk/>
          <pc:sldMk cId="2055594962" sldId="2146846408"/>
        </pc:sldMkLst>
        <pc:spChg chg="mod">
          <ac:chgData name="Md Fahim Hasan" userId="S::mdfahim.hasan@bayer.com::92968fce-d4dd-4b9e-8635-66a07c9f98a7" providerId="AD" clId="Web-{4CA7CF33-EBDC-4C62-B95F-8F2A33CB80EB}" dt="2023-07-28T19:18:28.180" v="5" actId="20577"/>
          <ac:spMkLst>
            <pc:docMk/>
            <pc:sldMk cId="2055594962" sldId="2146846408"/>
            <ac:spMk id="9" creationId="{DCE765C9-F866-A10C-05BC-B0F5CF7D4FA9}"/>
          </ac:spMkLst>
        </pc:spChg>
      </pc:sldChg>
      <pc:sldChg chg="modSp ord">
        <pc:chgData name="Md Fahim Hasan" userId="S::mdfahim.hasan@bayer.com::92968fce-d4dd-4b9e-8635-66a07c9f98a7" providerId="AD" clId="Web-{4CA7CF33-EBDC-4C62-B95F-8F2A33CB80EB}" dt="2023-07-28T19:54:37.066" v="174" actId="1076"/>
        <pc:sldMkLst>
          <pc:docMk/>
          <pc:sldMk cId="1968008277" sldId="2146846410"/>
        </pc:sldMkLst>
        <pc:spChg chg="mod">
          <ac:chgData name="Md Fahim Hasan" userId="S::mdfahim.hasan@bayer.com::92968fce-d4dd-4b9e-8635-66a07c9f98a7" providerId="AD" clId="Web-{4CA7CF33-EBDC-4C62-B95F-8F2A33CB80EB}" dt="2023-07-28T19:49:55.107" v="172" actId="20577"/>
          <ac:spMkLst>
            <pc:docMk/>
            <pc:sldMk cId="1968008277" sldId="2146846410"/>
            <ac:spMk id="7" creationId="{CD5ED03A-3B9D-9120-10C9-16CF3D860C61}"/>
          </ac:spMkLst>
        </pc:spChg>
        <pc:spChg chg="mod">
          <ac:chgData name="Md Fahim Hasan" userId="S::mdfahim.hasan@bayer.com::92968fce-d4dd-4b9e-8635-66a07c9f98a7" providerId="AD" clId="Web-{4CA7CF33-EBDC-4C62-B95F-8F2A33CB80EB}" dt="2023-07-28T19:54:37.066" v="174" actId="1076"/>
          <ac:spMkLst>
            <pc:docMk/>
            <pc:sldMk cId="1968008277" sldId="2146846410"/>
            <ac:spMk id="13" creationId="{24CB8F9A-8CB9-451B-64A8-F41B39D37A3B}"/>
          </ac:spMkLst>
        </pc:spChg>
      </pc:sldChg>
      <pc:sldChg chg="modSp">
        <pc:chgData name="Md Fahim Hasan" userId="S::mdfahim.hasan@bayer.com::92968fce-d4dd-4b9e-8635-66a07c9f98a7" providerId="AD" clId="Web-{4CA7CF33-EBDC-4C62-B95F-8F2A33CB80EB}" dt="2023-07-28T19:19:39.056" v="13" actId="20577"/>
        <pc:sldMkLst>
          <pc:docMk/>
          <pc:sldMk cId="2150827024" sldId="2146846414"/>
        </pc:sldMkLst>
        <pc:spChg chg="mod">
          <ac:chgData name="Md Fahim Hasan" userId="S::mdfahim.hasan@bayer.com::92968fce-d4dd-4b9e-8635-66a07c9f98a7" providerId="AD" clId="Web-{4CA7CF33-EBDC-4C62-B95F-8F2A33CB80EB}" dt="2023-07-28T19:19:39.056" v="13" actId="20577"/>
          <ac:spMkLst>
            <pc:docMk/>
            <pc:sldMk cId="2150827024" sldId="2146846414"/>
            <ac:spMk id="9" creationId="{DCE765C9-F866-A10C-05BC-B0F5CF7D4FA9}"/>
          </ac:spMkLst>
        </pc:spChg>
      </pc:sldChg>
      <pc:sldChg chg="modSp">
        <pc:chgData name="Md Fahim Hasan" userId="S::mdfahim.hasan@bayer.com::92968fce-d4dd-4b9e-8635-66a07c9f98a7" providerId="AD" clId="Web-{4CA7CF33-EBDC-4C62-B95F-8F2A33CB80EB}" dt="2023-07-28T19:33:20.540" v="38" actId="20577"/>
        <pc:sldMkLst>
          <pc:docMk/>
          <pc:sldMk cId="3091098860" sldId="2146846420"/>
        </pc:sldMkLst>
        <pc:spChg chg="mod">
          <ac:chgData name="Md Fahim Hasan" userId="S::mdfahim.hasan@bayer.com::92968fce-d4dd-4b9e-8635-66a07c9f98a7" providerId="AD" clId="Web-{4CA7CF33-EBDC-4C62-B95F-8F2A33CB80EB}" dt="2023-07-28T19:33:20.540" v="38" actId="20577"/>
          <ac:spMkLst>
            <pc:docMk/>
            <pc:sldMk cId="3091098860" sldId="2146846420"/>
            <ac:spMk id="3" creationId="{76C83492-675C-BDF8-08D6-D05F59107492}"/>
          </ac:spMkLst>
        </pc:spChg>
      </pc:sldChg>
      <pc:sldChg chg="modSp">
        <pc:chgData name="Md Fahim Hasan" userId="S::mdfahim.hasan@bayer.com::92968fce-d4dd-4b9e-8635-66a07c9f98a7" providerId="AD" clId="Web-{4CA7CF33-EBDC-4C62-B95F-8F2A33CB80EB}" dt="2023-07-28T19:32:45.540" v="33" actId="20577"/>
        <pc:sldMkLst>
          <pc:docMk/>
          <pc:sldMk cId="2603327664" sldId="2146846434"/>
        </pc:sldMkLst>
        <pc:graphicFrameChg chg="modGraphic">
          <ac:chgData name="Md Fahim Hasan" userId="S::mdfahim.hasan@bayer.com::92968fce-d4dd-4b9e-8635-66a07c9f98a7" providerId="AD" clId="Web-{4CA7CF33-EBDC-4C62-B95F-8F2A33CB80EB}" dt="2023-07-28T19:32:45.540" v="33" actId="20577"/>
          <ac:graphicFrameMkLst>
            <pc:docMk/>
            <pc:sldMk cId="2603327664" sldId="2146846434"/>
            <ac:graphicFrameMk id="5" creationId="{A4E8D83B-07E6-446B-4C64-9CA10E465285}"/>
          </ac:graphicFrameMkLst>
        </pc:graphicFrameChg>
      </pc:sldChg>
      <pc:sldChg chg="ord">
        <pc:chgData name="Md Fahim Hasan" userId="S::mdfahim.hasan@bayer.com::92968fce-d4dd-4b9e-8635-66a07c9f98a7" providerId="AD" clId="Web-{4CA7CF33-EBDC-4C62-B95F-8F2A33CB80EB}" dt="2023-07-28T19:30:46.209" v="27"/>
        <pc:sldMkLst>
          <pc:docMk/>
          <pc:sldMk cId="3078875381" sldId="2146846435"/>
        </pc:sldMkLst>
      </pc:sldChg>
    </pc:docChg>
  </pc:docChgLst>
  <pc:docChgLst>
    <pc:chgData name="Md Fahim Hasan" userId="S::mdfahim.hasan@bayer.com::92968fce-d4dd-4b9e-8635-66a07c9f98a7" providerId="AD" clId="Web-{9AFB84A3-21E9-DE0B-6B83-4CCB7BC01F10}"/>
    <pc:docChg chg="modSld">
      <pc:chgData name="Md Fahim Hasan" userId="S::mdfahim.hasan@bayer.com::92968fce-d4dd-4b9e-8635-66a07c9f98a7" providerId="AD" clId="Web-{9AFB84A3-21E9-DE0B-6B83-4CCB7BC01F10}" dt="2023-07-31T20:19:49.621" v="1"/>
      <pc:docMkLst>
        <pc:docMk/>
      </pc:docMkLst>
      <pc:sldChg chg="modSp">
        <pc:chgData name="Md Fahim Hasan" userId="S::mdfahim.hasan@bayer.com::92968fce-d4dd-4b9e-8635-66a07c9f98a7" providerId="AD" clId="Web-{9AFB84A3-21E9-DE0B-6B83-4CCB7BC01F10}" dt="2023-07-31T19:08:22.725" v="0" actId="20577"/>
        <pc:sldMkLst>
          <pc:docMk/>
          <pc:sldMk cId="371844730" sldId="2146846398"/>
        </pc:sldMkLst>
        <pc:spChg chg="mod">
          <ac:chgData name="Md Fahim Hasan" userId="S::mdfahim.hasan@bayer.com::92968fce-d4dd-4b9e-8635-66a07c9f98a7" providerId="AD" clId="Web-{9AFB84A3-21E9-DE0B-6B83-4CCB7BC01F10}" dt="2023-07-31T19:08:22.725" v="0" actId="20577"/>
          <ac:spMkLst>
            <pc:docMk/>
            <pc:sldMk cId="371844730" sldId="2146846398"/>
            <ac:spMk id="4" creationId="{83BCD419-89C7-9F7E-2906-52E2ED81E12F}"/>
          </ac:spMkLst>
        </pc:spChg>
      </pc:sldChg>
      <pc:sldChg chg="modCm">
        <pc:chgData name="Md Fahim Hasan" userId="S::mdfahim.hasan@bayer.com::92968fce-d4dd-4b9e-8635-66a07c9f98a7" providerId="AD" clId="Web-{9AFB84A3-21E9-DE0B-6B83-4CCB7BC01F10}" dt="2023-07-31T20:19:49.621" v="1"/>
        <pc:sldMkLst>
          <pc:docMk/>
          <pc:sldMk cId="3999969760" sldId="2146846407"/>
        </pc:sldMkLst>
      </pc:sldChg>
    </pc:docChg>
  </pc:docChgLst>
  <pc:docChgLst>
    <pc:chgData name="Md Fahim Hasan" userId="S::mdfahim.hasan@bayer.com::92968fce-d4dd-4b9e-8635-66a07c9f98a7" providerId="AD" clId="Web-{C8C39F1F-632B-2C66-3756-C1AF0FCACA42}"/>
    <pc:docChg chg="mod addSld delSld modSld sldOrd">
      <pc:chgData name="Md Fahim Hasan" userId="S::mdfahim.hasan@bayer.com::92968fce-d4dd-4b9e-8635-66a07c9f98a7" providerId="AD" clId="Web-{C8C39F1F-632B-2C66-3756-C1AF0FCACA42}" dt="2023-07-28T22:14:08.139" v="1880" actId="14100"/>
      <pc:docMkLst>
        <pc:docMk/>
      </pc:docMkLst>
      <pc:sldChg chg="modSp">
        <pc:chgData name="Md Fahim Hasan" userId="S::mdfahim.hasan@bayer.com::92968fce-d4dd-4b9e-8635-66a07c9f98a7" providerId="AD" clId="Web-{C8C39F1F-632B-2C66-3756-C1AF0FCACA42}" dt="2023-07-28T20:09:21.295" v="18" actId="1076"/>
        <pc:sldMkLst>
          <pc:docMk/>
          <pc:sldMk cId="2057978156" sldId="256"/>
        </pc:sldMkLst>
        <pc:spChg chg="mod">
          <ac:chgData name="Md Fahim Hasan" userId="S::mdfahim.hasan@bayer.com::92968fce-d4dd-4b9e-8635-66a07c9f98a7" providerId="AD" clId="Web-{C8C39F1F-632B-2C66-3756-C1AF0FCACA42}" dt="2023-07-28T20:09:15.045" v="15" actId="1076"/>
          <ac:spMkLst>
            <pc:docMk/>
            <pc:sldMk cId="2057978156" sldId="256"/>
            <ac:spMk id="2" creationId="{3686BA84-DCD5-9E45-57C1-47E4B920DEDD}"/>
          </ac:spMkLst>
        </pc:spChg>
        <pc:spChg chg="mod">
          <ac:chgData name="Md Fahim Hasan" userId="S::mdfahim.hasan@bayer.com::92968fce-d4dd-4b9e-8635-66a07c9f98a7" providerId="AD" clId="Web-{C8C39F1F-632B-2C66-3756-C1AF0FCACA42}" dt="2023-07-28T20:09:21.295" v="16" actId="1076"/>
          <ac:spMkLst>
            <pc:docMk/>
            <pc:sldMk cId="2057978156" sldId="256"/>
            <ac:spMk id="3" creationId="{38F72305-8CA3-1450-F878-0014A899FB3E}"/>
          </ac:spMkLst>
        </pc:spChg>
        <pc:spChg chg="mod">
          <ac:chgData name="Md Fahim Hasan" userId="S::mdfahim.hasan@bayer.com::92968fce-d4dd-4b9e-8635-66a07c9f98a7" providerId="AD" clId="Web-{C8C39F1F-632B-2C66-3756-C1AF0FCACA42}" dt="2023-07-28T20:09:21.295" v="17" actId="1076"/>
          <ac:spMkLst>
            <pc:docMk/>
            <pc:sldMk cId="2057978156" sldId="256"/>
            <ac:spMk id="5" creationId="{86E3427F-CEA6-580F-2887-D38E7EF0BF56}"/>
          </ac:spMkLst>
        </pc:spChg>
        <pc:cxnChg chg="mod">
          <ac:chgData name="Md Fahim Hasan" userId="S::mdfahim.hasan@bayer.com::92968fce-d4dd-4b9e-8635-66a07c9f98a7" providerId="AD" clId="Web-{C8C39F1F-632B-2C66-3756-C1AF0FCACA42}" dt="2023-07-28T20:09:21.295" v="18" actId="1076"/>
          <ac:cxnSpMkLst>
            <pc:docMk/>
            <pc:sldMk cId="2057978156" sldId="256"/>
            <ac:cxnSpMk id="7" creationId="{B26CD7DE-8844-25E4-E55D-B5BB8971A186}"/>
          </ac:cxnSpMkLst>
        </pc:cxnChg>
      </pc:sldChg>
      <pc:sldChg chg="modSp">
        <pc:chgData name="Md Fahim Hasan" userId="S::mdfahim.hasan@bayer.com::92968fce-d4dd-4b9e-8635-66a07c9f98a7" providerId="AD" clId="Web-{C8C39F1F-632B-2C66-3756-C1AF0FCACA42}" dt="2023-07-28T21:51:40.691" v="1702" actId="1076"/>
        <pc:sldMkLst>
          <pc:docMk/>
          <pc:sldMk cId="4056719616" sldId="2146846337"/>
        </pc:sldMkLst>
        <pc:spChg chg="mod">
          <ac:chgData name="Md Fahim Hasan" userId="S::mdfahim.hasan@bayer.com::92968fce-d4dd-4b9e-8635-66a07c9f98a7" providerId="AD" clId="Web-{C8C39F1F-632B-2C66-3756-C1AF0FCACA42}" dt="2023-07-28T20:09:59.468" v="25" actId="20577"/>
          <ac:spMkLst>
            <pc:docMk/>
            <pc:sldMk cId="4056719616" sldId="2146846337"/>
            <ac:spMk id="2" creationId="{9226B3AE-7380-1F6C-697A-E9637435E60D}"/>
          </ac:spMkLst>
        </pc:spChg>
        <pc:spChg chg="mod">
          <ac:chgData name="Md Fahim Hasan" userId="S::mdfahim.hasan@bayer.com::92968fce-d4dd-4b9e-8635-66a07c9f98a7" providerId="AD" clId="Web-{C8C39F1F-632B-2C66-3756-C1AF0FCACA42}" dt="2023-07-28T20:09:59.483" v="26" actId="20577"/>
          <ac:spMkLst>
            <pc:docMk/>
            <pc:sldMk cId="4056719616" sldId="2146846337"/>
            <ac:spMk id="4" creationId="{FD0EF38E-D7C0-8E63-A04B-1205873730B2}"/>
          </ac:spMkLst>
        </pc:spChg>
        <pc:spChg chg="mod">
          <ac:chgData name="Md Fahim Hasan" userId="S::mdfahim.hasan@bayer.com::92968fce-d4dd-4b9e-8635-66a07c9f98a7" providerId="AD" clId="Web-{C8C39F1F-632B-2C66-3756-C1AF0FCACA42}" dt="2023-07-28T21:51:40.691" v="1702" actId="1076"/>
          <ac:spMkLst>
            <pc:docMk/>
            <pc:sldMk cId="4056719616" sldId="2146846337"/>
            <ac:spMk id="9" creationId="{DCE765C9-F866-A10C-05BC-B0F5CF7D4FA9}"/>
          </ac:spMkLst>
        </pc:spChg>
        <pc:spChg chg="mod">
          <ac:chgData name="Md Fahim Hasan" userId="S::mdfahim.hasan@bayer.com::92968fce-d4dd-4b9e-8635-66a07c9f98a7" providerId="AD" clId="Web-{C8C39F1F-632B-2C66-3756-C1AF0FCACA42}" dt="2023-07-28T20:09:59.405" v="22" actId="20577"/>
          <ac:spMkLst>
            <pc:docMk/>
            <pc:sldMk cId="4056719616" sldId="2146846337"/>
            <ac:spMk id="10" creationId="{F6E243F7-F258-1A63-610D-FF7CD8668613}"/>
          </ac:spMkLst>
        </pc:spChg>
        <pc:spChg chg="mod">
          <ac:chgData name="Md Fahim Hasan" userId="S::mdfahim.hasan@bayer.com::92968fce-d4dd-4b9e-8635-66a07c9f98a7" providerId="AD" clId="Web-{C8C39F1F-632B-2C66-3756-C1AF0FCACA42}" dt="2023-07-28T20:09:59.452" v="24" actId="20577"/>
          <ac:spMkLst>
            <pc:docMk/>
            <pc:sldMk cId="4056719616" sldId="2146846337"/>
            <ac:spMk id="12" creationId="{4B44160A-35FD-F0D1-8CB5-8BC0B618E421}"/>
          </ac:spMkLst>
        </pc:spChg>
        <pc:spChg chg="mod">
          <ac:chgData name="Md Fahim Hasan" userId="S::mdfahim.hasan@bayer.com::92968fce-d4dd-4b9e-8635-66a07c9f98a7" providerId="AD" clId="Web-{C8C39F1F-632B-2C66-3756-C1AF0FCACA42}" dt="2023-07-28T20:09:59.499" v="27" actId="20577"/>
          <ac:spMkLst>
            <pc:docMk/>
            <pc:sldMk cId="4056719616" sldId="2146846337"/>
            <ac:spMk id="13" creationId="{D2E8F959-A480-C597-DD32-378E99CD7A2C}"/>
          </ac:spMkLst>
        </pc:spChg>
      </pc:sldChg>
      <pc:sldChg chg="modSp">
        <pc:chgData name="Md Fahim Hasan" userId="S::mdfahim.hasan@bayer.com::92968fce-d4dd-4b9e-8635-66a07c9f98a7" providerId="AD" clId="Web-{C8C39F1F-632B-2C66-3756-C1AF0FCACA42}" dt="2023-07-28T20:11:03.563" v="43" actId="20577"/>
        <pc:sldMkLst>
          <pc:docMk/>
          <pc:sldMk cId="592699982" sldId="2146846382"/>
        </pc:sldMkLst>
        <pc:spChg chg="mod">
          <ac:chgData name="Md Fahim Hasan" userId="S::mdfahim.hasan@bayer.com::92968fce-d4dd-4b9e-8635-66a07c9f98a7" providerId="AD" clId="Web-{C8C39F1F-632B-2C66-3756-C1AF0FCACA42}" dt="2023-07-28T20:10:37.187" v="34" actId="20577"/>
          <ac:spMkLst>
            <pc:docMk/>
            <pc:sldMk cId="592699982" sldId="2146846382"/>
            <ac:spMk id="2" creationId="{50D7F7E2-05E6-E2B8-455A-1E18E17C21ED}"/>
          </ac:spMkLst>
        </pc:spChg>
        <pc:spChg chg="mod">
          <ac:chgData name="Md Fahim Hasan" userId="S::mdfahim.hasan@bayer.com::92968fce-d4dd-4b9e-8635-66a07c9f98a7" providerId="AD" clId="Web-{C8C39F1F-632B-2C66-3756-C1AF0FCACA42}" dt="2023-07-28T20:10:50.750" v="40" actId="1076"/>
          <ac:spMkLst>
            <pc:docMk/>
            <pc:sldMk cId="592699982" sldId="2146846382"/>
            <ac:spMk id="3" creationId="{13F62010-37D9-C1F3-FE48-1F9FC4001FF9}"/>
          </ac:spMkLst>
        </pc:spChg>
        <pc:spChg chg="mod">
          <ac:chgData name="Md Fahim Hasan" userId="S::mdfahim.hasan@bayer.com::92968fce-d4dd-4b9e-8635-66a07c9f98a7" providerId="AD" clId="Web-{C8C39F1F-632B-2C66-3756-C1AF0FCACA42}" dt="2023-07-28T20:11:03.563" v="43" actId="20577"/>
          <ac:spMkLst>
            <pc:docMk/>
            <pc:sldMk cId="592699982" sldId="2146846382"/>
            <ac:spMk id="5" creationId="{6B0E3D4A-AE11-4EEE-47A3-F08F39D0D674}"/>
          </ac:spMkLst>
        </pc:spChg>
        <pc:spChg chg="mod">
          <ac:chgData name="Md Fahim Hasan" userId="S::mdfahim.hasan@bayer.com::92968fce-d4dd-4b9e-8635-66a07c9f98a7" providerId="AD" clId="Web-{C8C39F1F-632B-2C66-3756-C1AF0FCACA42}" dt="2023-07-28T20:11:01.359" v="42" actId="1076"/>
          <ac:spMkLst>
            <pc:docMk/>
            <pc:sldMk cId="592699982" sldId="2146846382"/>
            <ac:spMk id="9" creationId="{DCE765C9-F866-A10C-05BC-B0F5CF7D4FA9}"/>
          </ac:spMkLst>
        </pc:spChg>
      </pc:sldChg>
      <pc:sldChg chg="modSp">
        <pc:chgData name="Md Fahim Hasan" userId="S::mdfahim.hasan@bayer.com::92968fce-d4dd-4b9e-8635-66a07c9f98a7" providerId="AD" clId="Web-{C8C39F1F-632B-2C66-3756-C1AF0FCACA42}" dt="2023-07-28T20:11:30.110" v="50" actId="20577"/>
        <pc:sldMkLst>
          <pc:docMk/>
          <pc:sldMk cId="3666602129" sldId="2146846383"/>
        </pc:sldMkLst>
        <pc:spChg chg="mod">
          <ac:chgData name="Md Fahim Hasan" userId="S::mdfahim.hasan@bayer.com::92968fce-d4dd-4b9e-8635-66a07c9f98a7" providerId="AD" clId="Web-{C8C39F1F-632B-2C66-3756-C1AF0FCACA42}" dt="2023-07-28T20:11:30.110" v="50" actId="20577"/>
          <ac:spMkLst>
            <pc:docMk/>
            <pc:sldMk cId="3666602129" sldId="2146846383"/>
            <ac:spMk id="3" creationId="{47362F07-4913-5AB4-655D-190F6C4B7BB8}"/>
          </ac:spMkLst>
        </pc:spChg>
        <pc:spChg chg="mod">
          <ac:chgData name="Md Fahim Hasan" userId="S::mdfahim.hasan@bayer.com::92968fce-d4dd-4b9e-8635-66a07c9f98a7" providerId="AD" clId="Web-{C8C39F1F-632B-2C66-3756-C1AF0FCACA42}" dt="2023-07-28T20:11:29.985" v="47" actId="20577"/>
          <ac:spMkLst>
            <pc:docMk/>
            <pc:sldMk cId="3666602129" sldId="2146846383"/>
            <ac:spMk id="4" creationId="{6CE70B44-3ABA-966C-1037-341F0E51DA50}"/>
          </ac:spMkLst>
        </pc:spChg>
        <pc:spChg chg="mod">
          <ac:chgData name="Md Fahim Hasan" userId="S::mdfahim.hasan@bayer.com::92968fce-d4dd-4b9e-8635-66a07c9f98a7" providerId="AD" clId="Web-{C8C39F1F-632B-2C66-3756-C1AF0FCACA42}" dt="2023-07-28T20:11:30.047" v="48" actId="20577"/>
          <ac:spMkLst>
            <pc:docMk/>
            <pc:sldMk cId="3666602129" sldId="2146846383"/>
            <ac:spMk id="8" creationId="{B6129EBB-5BBC-0496-43B1-E5DD89BBC166}"/>
          </ac:spMkLst>
        </pc:spChg>
        <pc:spChg chg="mod">
          <ac:chgData name="Md Fahim Hasan" userId="S::mdfahim.hasan@bayer.com::92968fce-d4dd-4b9e-8635-66a07c9f98a7" providerId="AD" clId="Web-{C8C39F1F-632B-2C66-3756-C1AF0FCACA42}" dt="2023-07-28T20:11:29.829" v="44" actId="20577"/>
          <ac:spMkLst>
            <pc:docMk/>
            <pc:sldMk cId="3666602129" sldId="2146846383"/>
            <ac:spMk id="9" creationId="{DCE765C9-F866-A10C-05BC-B0F5CF7D4FA9}"/>
          </ac:spMkLst>
        </pc:spChg>
        <pc:spChg chg="mod">
          <ac:chgData name="Md Fahim Hasan" userId="S::mdfahim.hasan@bayer.com::92968fce-d4dd-4b9e-8635-66a07c9f98a7" providerId="AD" clId="Web-{C8C39F1F-632B-2C66-3756-C1AF0FCACA42}" dt="2023-07-28T20:11:29.860" v="45" actId="20577"/>
          <ac:spMkLst>
            <pc:docMk/>
            <pc:sldMk cId="3666602129" sldId="2146846383"/>
            <ac:spMk id="14" creationId="{B9F5EBE5-BF4F-6602-E462-2A211297793D}"/>
          </ac:spMkLst>
        </pc:spChg>
        <pc:graphicFrameChg chg="modGraphic">
          <ac:chgData name="Md Fahim Hasan" userId="S::mdfahim.hasan@bayer.com::92968fce-d4dd-4b9e-8635-66a07c9f98a7" providerId="AD" clId="Web-{C8C39F1F-632B-2C66-3756-C1AF0FCACA42}" dt="2023-07-28T20:11:29.969" v="46" actId="20577"/>
          <ac:graphicFrameMkLst>
            <pc:docMk/>
            <pc:sldMk cId="3666602129" sldId="2146846383"/>
            <ac:graphicFrameMk id="15" creationId="{A1F61D02-76F0-6BAF-2680-6342F5A3100A}"/>
          </ac:graphicFrameMkLst>
        </pc:graphicFrameChg>
      </pc:sldChg>
      <pc:sldChg chg="addSp delSp modSp">
        <pc:chgData name="Md Fahim Hasan" userId="S::mdfahim.hasan@bayer.com::92968fce-d4dd-4b9e-8635-66a07c9f98a7" providerId="AD" clId="Web-{C8C39F1F-632B-2C66-3756-C1AF0FCACA42}" dt="2023-07-28T21:01:43.855" v="935"/>
        <pc:sldMkLst>
          <pc:docMk/>
          <pc:sldMk cId="382852834" sldId="2146846384"/>
        </pc:sldMkLst>
        <pc:spChg chg="mod">
          <ac:chgData name="Md Fahim Hasan" userId="S::mdfahim.hasan@bayer.com::92968fce-d4dd-4b9e-8635-66a07c9f98a7" providerId="AD" clId="Web-{C8C39F1F-632B-2C66-3756-C1AF0FCACA42}" dt="2023-07-28T20:25:22.670" v="675" actId="20577"/>
          <ac:spMkLst>
            <pc:docMk/>
            <pc:sldMk cId="382852834" sldId="2146846384"/>
            <ac:spMk id="2" creationId="{6D7FCBD6-1C98-E9CE-93C6-53AC8BC673C5}"/>
          </ac:spMkLst>
        </pc:spChg>
        <pc:spChg chg="del">
          <ac:chgData name="Md Fahim Hasan" userId="S::mdfahim.hasan@bayer.com::92968fce-d4dd-4b9e-8635-66a07c9f98a7" providerId="AD" clId="Web-{C8C39F1F-632B-2C66-3756-C1AF0FCACA42}" dt="2023-07-28T20:21:36.479" v="555"/>
          <ac:spMkLst>
            <pc:docMk/>
            <pc:sldMk cId="382852834" sldId="2146846384"/>
            <ac:spMk id="3" creationId="{7575AD2E-83F9-2C5A-1724-4025F6CB666E}"/>
          </ac:spMkLst>
        </pc:spChg>
        <pc:spChg chg="del">
          <ac:chgData name="Md Fahim Hasan" userId="S::mdfahim.hasan@bayer.com::92968fce-d4dd-4b9e-8635-66a07c9f98a7" providerId="AD" clId="Web-{C8C39F1F-632B-2C66-3756-C1AF0FCACA42}" dt="2023-07-28T20:21:36.479" v="554"/>
          <ac:spMkLst>
            <pc:docMk/>
            <pc:sldMk cId="382852834" sldId="2146846384"/>
            <ac:spMk id="5" creationId="{640410B1-D6C8-6AE2-5E39-F609BCCB3287}"/>
          </ac:spMkLst>
        </pc:spChg>
        <pc:spChg chg="del">
          <ac:chgData name="Md Fahim Hasan" userId="S::mdfahim.hasan@bayer.com::92968fce-d4dd-4b9e-8635-66a07c9f98a7" providerId="AD" clId="Web-{C8C39F1F-632B-2C66-3756-C1AF0FCACA42}" dt="2023-07-28T20:21:36.479" v="553"/>
          <ac:spMkLst>
            <pc:docMk/>
            <pc:sldMk cId="382852834" sldId="2146846384"/>
            <ac:spMk id="6" creationId="{9F9A0ECC-BAEC-B095-EED1-369C2A0B7EDA}"/>
          </ac:spMkLst>
        </pc:spChg>
        <pc:spChg chg="del">
          <ac:chgData name="Md Fahim Hasan" userId="S::mdfahim.hasan@bayer.com::92968fce-d4dd-4b9e-8635-66a07c9f98a7" providerId="AD" clId="Web-{C8C39F1F-632B-2C66-3756-C1AF0FCACA42}" dt="2023-07-28T20:21:36.479" v="552"/>
          <ac:spMkLst>
            <pc:docMk/>
            <pc:sldMk cId="382852834" sldId="2146846384"/>
            <ac:spMk id="7" creationId="{B015396B-6D4A-2C99-FB34-AA10AE533509}"/>
          </ac:spMkLst>
        </pc:spChg>
        <pc:spChg chg="del">
          <ac:chgData name="Md Fahim Hasan" userId="S::mdfahim.hasan@bayer.com::92968fce-d4dd-4b9e-8635-66a07c9f98a7" providerId="AD" clId="Web-{C8C39F1F-632B-2C66-3756-C1AF0FCACA42}" dt="2023-07-28T20:21:36.479" v="551"/>
          <ac:spMkLst>
            <pc:docMk/>
            <pc:sldMk cId="382852834" sldId="2146846384"/>
            <ac:spMk id="8" creationId="{CF231785-6F05-269A-2F8C-2DB42C31F01A}"/>
          </ac:spMkLst>
        </pc:spChg>
        <pc:spChg chg="mod">
          <ac:chgData name="Md Fahim Hasan" userId="S::mdfahim.hasan@bayer.com::92968fce-d4dd-4b9e-8635-66a07c9f98a7" providerId="AD" clId="Web-{C8C39F1F-632B-2C66-3756-C1AF0FCACA42}" dt="2023-07-28T20:25:35.421" v="678" actId="20577"/>
          <ac:spMkLst>
            <pc:docMk/>
            <pc:sldMk cId="382852834" sldId="2146846384"/>
            <ac:spMk id="9" creationId="{DCE765C9-F866-A10C-05BC-B0F5CF7D4FA9}"/>
          </ac:spMkLst>
        </pc:spChg>
        <pc:spChg chg="add del mod">
          <ac:chgData name="Md Fahim Hasan" userId="S::mdfahim.hasan@bayer.com::92968fce-d4dd-4b9e-8635-66a07c9f98a7" providerId="AD" clId="Web-{C8C39F1F-632B-2C66-3756-C1AF0FCACA42}" dt="2023-07-28T20:24:38.795" v="645"/>
          <ac:spMkLst>
            <pc:docMk/>
            <pc:sldMk cId="382852834" sldId="2146846384"/>
            <ac:spMk id="10" creationId="{CA55A2DA-A40F-62DD-DEE1-3B29CC07023A}"/>
          </ac:spMkLst>
        </pc:spChg>
        <pc:spChg chg="del">
          <ac:chgData name="Md Fahim Hasan" userId="S::mdfahim.hasan@bayer.com::92968fce-d4dd-4b9e-8635-66a07c9f98a7" providerId="AD" clId="Web-{C8C39F1F-632B-2C66-3756-C1AF0FCACA42}" dt="2023-07-28T20:21:36.464" v="550"/>
          <ac:spMkLst>
            <pc:docMk/>
            <pc:sldMk cId="382852834" sldId="2146846384"/>
            <ac:spMk id="11" creationId="{4F9B9796-B12D-713F-746A-4DCA952B9304}"/>
          </ac:spMkLst>
        </pc:spChg>
        <pc:spChg chg="add mod">
          <ac:chgData name="Md Fahim Hasan" userId="S::mdfahim.hasan@bayer.com::92968fce-d4dd-4b9e-8635-66a07c9f98a7" providerId="AD" clId="Web-{C8C39F1F-632B-2C66-3756-C1AF0FCACA42}" dt="2023-07-28T21:01:30.090" v="931" actId="20577"/>
          <ac:spMkLst>
            <pc:docMk/>
            <pc:sldMk cId="382852834" sldId="2146846384"/>
            <ac:spMk id="13" creationId="{23034FE2-7417-3F29-A02B-2C3001C86417}"/>
          </ac:spMkLst>
        </pc:spChg>
        <pc:spChg chg="del">
          <ac:chgData name="Md Fahim Hasan" userId="S::mdfahim.hasan@bayer.com::92968fce-d4dd-4b9e-8635-66a07c9f98a7" providerId="AD" clId="Web-{C8C39F1F-632B-2C66-3756-C1AF0FCACA42}" dt="2023-07-28T20:21:36.464" v="549"/>
          <ac:spMkLst>
            <pc:docMk/>
            <pc:sldMk cId="382852834" sldId="2146846384"/>
            <ac:spMk id="14" creationId="{38F4F4CD-DAF6-1AE9-31D8-3409B0EF1425}"/>
          </ac:spMkLst>
        </pc:spChg>
        <pc:spChg chg="del">
          <ac:chgData name="Md Fahim Hasan" userId="S::mdfahim.hasan@bayer.com::92968fce-d4dd-4b9e-8635-66a07c9f98a7" providerId="AD" clId="Web-{C8C39F1F-632B-2C66-3756-C1AF0FCACA42}" dt="2023-07-28T20:21:36.464" v="548"/>
          <ac:spMkLst>
            <pc:docMk/>
            <pc:sldMk cId="382852834" sldId="2146846384"/>
            <ac:spMk id="15" creationId="{B7F74B15-FDF2-1E28-12D1-C3D9C93B4BAF}"/>
          </ac:spMkLst>
        </pc:spChg>
        <pc:spChg chg="del">
          <ac:chgData name="Md Fahim Hasan" userId="S::mdfahim.hasan@bayer.com::92968fce-d4dd-4b9e-8635-66a07c9f98a7" providerId="AD" clId="Web-{C8C39F1F-632B-2C66-3756-C1AF0FCACA42}" dt="2023-07-28T20:21:36.479" v="570"/>
          <ac:spMkLst>
            <pc:docMk/>
            <pc:sldMk cId="382852834" sldId="2146846384"/>
            <ac:spMk id="58" creationId="{477A9370-4EB7-D4FB-9C49-64212593232B}"/>
          </ac:spMkLst>
        </pc:spChg>
        <pc:spChg chg="del">
          <ac:chgData name="Md Fahim Hasan" userId="S::mdfahim.hasan@bayer.com::92968fce-d4dd-4b9e-8635-66a07c9f98a7" providerId="AD" clId="Web-{C8C39F1F-632B-2C66-3756-C1AF0FCACA42}" dt="2023-07-28T20:21:36.479" v="569"/>
          <ac:spMkLst>
            <pc:docMk/>
            <pc:sldMk cId="382852834" sldId="2146846384"/>
            <ac:spMk id="59" creationId="{90B4C7A6-1146-A4F7-F58B-CF1A5B25CD55}"/>
          </ac:spMkLst>
        </pc:spChg>
        <pc:spChg chg="del">
          <ac:chgData name="Md Fahim Hasan" userId="S::mdfahim.hasan@bayer.com::92968fce-d4dd-4b9e-8635-66a07c9f98a7" providerId="AD" clId="Web-{C8C39F1F-632B-2C66-3756-C1AF0FCACA42}" dt="2023-07-28T20:21:36.479" v="567"/>
          <ac:spMkLst>
            <pc:docMk/>
            <pc:sldMk cId="382852834" sldId="2146846384"/>
            <ac:spMk id="62" creationId="{6ACC9BD9-0A30-22E4-1AAE-B7B60C0DD078}"/>
          </ac:spMkLst>
        </pc:spChg>
        <pc:spChg chg="del">
          <ac:chgData name="Md Fahim Hasan" userId="S::mdfahim.hasan@bayer.com::92968fce-d4dd-4b9e-8635-66a07c9f98a7" providerId="AD" clId="Web-{C8C39F1F-632B-2C66-3756-C1AF0FCACA42}" dt="2023-07-28T20:21:36.479" v="566"/>
          <ac:spMkLst>
            <pc:docMk/>
            <pc:sldMk cId="382852834" sldId="2146846384"/>
            <ac:spMk id="63" creationId="{15AC1DFF-5986-2F03-33B5-C89C2ADF3A4F}"/>
          </ac:spMkLst>
        </pc:spChg>
        <pc:spChg chg="del">
          <ac:chgData name="Md Fahim Hasan" userId="S::mdfahim.hasan@bayer.com::92968fce-d4dd-4b9e-8635-66a07c9f98a7" providerId="AD" clId="Web-{C8C39F1F-632B-2C66-3756-C1AF0FCACA42}" dt="2023-07-28T20:21:36.479" v="564"/>
          <ac:spMkLst>
            <pc:docMk/>
            <pc:sldMk cId="382852834" sldId="2146846384"/>
            <ac:spMk id="67" creationId="{3D57C913-D685-7FBB-DAC9-D663C4A11301}"/>
          </ac:spMkLst>
        </pc:spChg>
        <pc:spChg chg="del">
          <ac:chgData name="Md Fahim Hasan" userId="S::mdfahim.hasan@bayer.com::92968fce-d4dd-4b9e-8635-66a07c9f98a7" providerId="AD" clId="Web-{C8C39F1F-632B-2C66-3756-C1AF0FCACA42}" dt="2023-07-28T20:21:36.479" v="563"/>
          <ac:spMkLst>
            <pc:docMk/>
            <pc:sldMk cId="382852834" sldId="2146846384"/>
            <ac:spMk id="68" creationId="{60A3FB28-B2FC-8C9E-D8BB-40907E553639}"/>
          </ac:spMkLst>
        </pc:spChg>
        <pc:spChg chg="mod">
          <ac:chgData name="Md Fahim Hasan" userId="S::mdfahim.hasan@bayer.com::92968fce-d4dd-4b9e-8635-66a07c9f98a7" providerId="AD" clId="Web-{C8C39F1F-632B-2C66-3756-C1AF0FCACA42}" dt="2023-07-28T20:25:22.733" v="677" actId="20577"/>
          <ac:spMkLst>
            <pc:docMk/>
            <pc:sldMk cId="382852834" sldId="2146846384"/>
            <ac:spMk id="69" creationId="{1F2244A3-95C7-B48D-A6EF-2490C551608A}"/>
          </ac:spMkLst>
        </pc:spChg>
        <pc:spChg chg="del">
          <ac:chgData name="Md Fahim Hasan" userId="S::mdfahim.hasan@bayer.com::92968fce-d4dd-4b9e-8635-66a07c9f98a7" providerId="AD" clId="Web-{C8C39F1F-632B-2C66-3756-C1AF0FCACA42}" dt="2023-07-28T20:21:36.479" v="561"/>
          <ac:spMkLst>
            <pc:docMk/>
            <pc:sldMk cId="382852834" sldId="2146846384"/>
            <ac:spMk id="74" creationId="{EF460FF9-A7A4-B7B8-D81A-DD54DBA43839}"/>
          </ac:spMkLst>
        </pc:spChg>
        <pc:spChg chg="del">
          <ac:chgData name="Md Fahim Hasan" userId="S::mdfahim.hasan@bayer.com::92968fce-d4dd-4b9e-8635-66a07c9f98a7" providerId="AD" clId="Web-{C8C39F1F-632B-2C66-3756-C1AF0FCACA42}" dt="2023-07-28T20:21:36.479" v="560"/>
          <ac:spMkLst>
            <pc:docMk/>
            <pc:sldMk cId="382852834" sldId="2146846384"/>
            <ac:spMk id="75" creationId="{8416AE51-D388-A4C7-CAA1-7EBB934E90A5}"/>
          </ac:spMkLst>
        </pc:spChg>
        <pc:spChg chg="del">
          <ac:chgData name="Md Fahim Hasan" userId="S::mdfahim.hasan@bayer.com::92968fce-d4dd-4b9e-8635-66a07c9f98a7" providerId="AD" clId="Web-{C8C39F1F-632B-2C66-3756-C1AF0FCACA42}" dt="2023-07-28T20:21:36.479" v="557"/>
          <ac:spMkLst>
            <pc:docMk/>
            <pc:sldMk cId="382852834" sldId="2146846384"/>
            <ac:spMk id="83" creationId="{B389E4F6-61CA-0F42-BB36-6871F0F4FDCF}"/>
          </ac:spMkLst>
        </pc:spChg>
        <pc:spChg chg="del">
          <ac:chgData name="Md Fahim Hasan" userId="S::mdfahim.hasan@bayer.com::92968fce-d4dd-4b9e-8635-66a07c9f98a7" providerId="AD" clId="Web-{C8C39F1F-632B-2C66-3756-C1AF0FCACA42}" dt="2023-07-28T20:21:36.479" v="556"/>
          <ac:spMkLst>
            <pc:docMk/>
            <pc:sldMk cId="382852834" sldId="2146846384"/>
            <ac:spMk id="84" creationId="{1EF420AB-027C-90AF-CD6B-38191B3E36BD}"/>
          </ac:spMkLst>
        </pc:spChg>
        <pc:grpChg chg="del">
          <ac:chgData name="Md Fahim Hasan" userId="S::mdfahim.hasan@bayer.com::92968fce-d4dd-4b9e-8635-66a07c9f98a7" providerId="AD" clId="Web-{C8C39F1F-632B-2C66-3756-C1AF0FCACA42}" dt="2023-07-28T20:21:36.479" v="562"/>
          <ac:grpSpMkLst>
            <pc:docMk/>
            <pc:sldMk cId="382852834" sldId="2146846384"/>
            <ac:grpSpMk id="72" creationId="{28935246-43A0-D9B5-F806-50679A7F07D6}"/>
          </ac:grpSpMkLst>
        </pc:grpChg>
        <pc:graphicFrameChg chg="add mod ord modGraphic">
          <ac:chgData name="Md Fahim Hasan" userId="S::mdfahim.hasan@bayer.com::92968fce-d4dd-4b9e-8635-66a07c9f98a7" providerId="AD" clId="Web-{C8C39F1F-632B-2C66-3756-C1AF0FCACA42}" dt="2023-07-28T21:01:43.855" v="935"/>
          <ac:graphicFrameMkLst>
            <pc:docMk/>
            <pc:sldMk cId="382852834" sldId="2146846384"/>
            <ac:graphicFrameMk id="4" creationId="{BF234329-B064-93EF-EC61-328EC3B53004}"/>
          </ac:graphicFrameMkLst>
        </pc:graphicFrameChg>
        <pc:cxnChg chg="del mod">
          <ac:chgData name="Md Fahim Hasan" userId="S::mdfahim.hasan@bayer.com::92968fce-d4dd-4b9e-8635-66a07c9f98a7" providerId="AD" clId="Web-{C8C39F1F-632B-2C66-3756-C1AF0FCACA42}" dt="2023-07-28T20:21:36.479" v="568"/>
          <ac:cxnSpMkLst>
            <pc:docMk/>
            <pc:sldMk cId="382852834" sldId="2146846384"/>
            <ac:cxnSpMk id="61" creationId="{36FD637E-E67B-7D24-5C59-101BCC9B20B1}"/>
          </ac:cxnSpMkLst>
        </pc:cxnChg>
        <pc:cxnChg chg="del mod">
          <ac:chgData name="Md Fahim Hasan" userId="S::mdfahim.hasan@bayer.com::92968fce-d4dd-4b9e-8635-66a07c9f98a7" providerId="AD" clId="Web-{C8C39F1F-632B-2C66-3756-C1AF0FCACA42}" dt="2023-07-28T20:21:36.479" v="565"/>
          <ac:cxnSpMkLst>
            <pc:docMk/>
            <pc:sldMk cId="382852834" sldId="2146846384"/>
            <ac:cxnSpMk id="64" creationId="{F8C37DCD-1BE8-D3DD-E51D-F73EC3236D8D}"/>
          </ac:cxnSpMkLst>
        </pc:cxnChg>
        <pc:cxnChg chg="del">
          <ac:chgData name="Md Fahim Hasan" userId="S::mdfahim.hasan@bayer.com::92968fce-d4dd-4b9e-8635-66a07c9f98a7" providerId="AD" clId="Web-{C8C39F1F-632B-2C66-3756-C1AF0FCACA42}" dt="2023-07-28T20:21:36.479" v="559"/>
          <ac:cxnSpMkLst>
            <pc:docMk/>
            <pc:sldMk cId="382852834" sldId="2146846384"/>
            <ac:cxnSpMk id="79" creationId="{687AEA25-50B3-782B-E1A4-FE0011FDE576}"/>
          </ac:cxnSpMkLst>
        </pc:cxnChg>
        <pc:cxnChg chg="del">
          <ac:chgData name="Md Fahim Hasan" userId="S::mdfahim.hasan@bayer.com::92968fce-d4dd-4b9e-8635-66a07c9f98a7" providerId="AD" clId="Web-{C8C39F1F-632B-2C66-3756-C1AF0FCACA42}" dt="2023-07-28T20:21:36.479" v="558"/>
          <ac:cxnSpMkLst>
            <pc:docMk/>
            <pc:sldMk cId="382852834" sldId="2146846384"/>
            <ac:cxnSpMk id="81" creationId="{B0FA33D4-5E5F-92B5-C3F6-D67E1F0E9F89}"/>
          </ac:cxnSpMkLst>
        </pc:cxnChg>
      </pc:sldChg>
      <pc:sldChg chg="modSp delAnim">
        <pc:chgData name="Md Fahim Hasan" userId="S::mdfahim.hasan@bayer.com::92968fce-d4dd-4b9e-8635-66a07c9f98a7" providerId="AD" clId="Web-{C8C39F1F-632B-2C66-3756-C1AF0FCACA42}" dt="2023-07-28T22:07:07.397" v="1877"/>
        <pc:sldMkLst>
          <pc:docMk/>
          <pc:sldMk cId="268688356" sldId="2146846385"/>
        </pc:sldMkLst>
        <pc:spChg chg="mod">
          <ac:chgData name="Md Fahim Hasan" userId="S::mdfahim.hasan@bayer.com::92968fce-d4dd-4b9e-8635-66a07c9f98a7" providerId="AD" clId="Web-{C8C39F1F-632B-2C66-3756-C1AF0FCACA42}" dt="2023-07-28T20:16:03.708" v="105" actId="1076"/>
          <ac:spMkLst>
            <pc:docMk/>
            <pc:sldMk cId="268688356" sldId="2146846385"/>
            <ac:spMk id="2" creationId="{C8283E70-F220-0EF3-63D9-8EACFDCC07A6}"/>
          </ac:spMkLst>
        </pc:spChg>
        <pc:spChg chg="mod">
          <ac:chgData name="Md Fahim Hasan" userId="S::mdfahim.hasan@bayer.com::92968fce-d4dd-4b9e-8635-66a07c9f98a7" providerId="AD" clId="Web-{C8C39F1F-632B-2C66-3756-C1AF0FCACA42}" dt="2023-07-28T20:16:39.381" v="109" actId="14100"/>
          <ac:spMkLst>
            <pc:docMk/>
            <pc:sldMk cId="268688356" sldId="2146846385"/>
            <ac:spMk id="4" creationId="{6E725962-AA6E-3764-10EC-09E349BF7BE0}"/>
          </ac:spMkLst>
        </pc:spChg>
        <pc:spChg chg="mod">
          <ac:chgData name="Md Fahim Hasan" userId="S::mdfahim.hasan@bayer.com::92968fce-d4dd-4b9e-8635-66a07c9f98a7" providerId="AD" clId="Web-{C8C39F1F-632B-2C66-3756-C1AF0FCACA42}" dt="2023-07-28T20:15:50.817" v="97" actId="20577"/>
          <ac:spMkLst>
            <pc:docMk/>
            <pc:sldMk cId="268688356" sldId="2146846385"/>
            <ac:spMk id="5" creationId="{78336494-07A2-AFEF-44BC-F6BB3B326DA1}"/>
          </ac:spMkLst>
        </pc:spChg>
        <pc:spChg chg="mod">
          <ac:chgData name="Md Fahim Hasan" userId="S::mdfahim.hasan@bayer.com::92968fce-d4dd-4b9e-8635-66a07c9f98a7" providerId="AD" clId="Web-{C8C39F1F-632B-2C66-3756-C1AF0FCACA42}" dt="2023-07-28T20:15:50.833" v="99" actId="20577"/>
          <ac:spMkLst>
            <pc:docMk/>
            <pc:sldMk cId="268688356" sldId="2146846385"/>
            <ac:spMk id="6" creationId="{02E82B1F-8C1E-18D3-20EF-F680A1F852F8}"/>
          </ac:spMkLst>
        </pc:spChg>
        <pc:spChg chg="mod">
          <ac:chgData name="Md Fahim Hasan" userId="S::mdfahim.hasan@bayer.com::92968fce-d4dd-4b9e-8635-66a07c9f98a7" providerId="AD" clId="Web-{C8C39F1F-632B-2C66-3756-C1AF0FCACA42}" dt="2023-07-28T20:15:50.849" v="100" actId="20577"/>
          <ac:spMkLst>
            <pc:docMk/>
            <pc:sldMk cId="268688356" sldId="2146846385"/>
            <ac:spMk id="8" creationId="{CB0C19E4-1189-79AC-0F7A-7BEC20992E77}"/>
          </ac:spMkLst>
        </pc:spChg>
        <pc:spChg chg="mod">
          <ac:chgData name="Md Fahim Hasan" userId="S::mdfahim.hasan@bayer.com::92968fce-d4dd-4b9e-8635-66a07c9f98a7" providerId="AD" clId="Web-{C8C39F1F-632B-2C66-3756-C1AF0FCACA42}" dt="2023-07-28T20:15:55.536" v="103" actId="20577"/>
          <ac:spMkLst>
            <pc:docMk/>
            <pc:sldMk cId="268688356" sldId="2146846385"/>
            <ac:spMk id="9" creationId="{DCE765C9-F866-A10C-05BC-B0F5CF7D4FA9}"/>
          </ac:spMkLst>
        </pc:spChg>
        <pc:spChg chg="mod">
          <ac:chgData name="Md Fahim Hasan" userId="S::mdfahim.hasan@bayer.com::92968fce-d4dd-4b9e-8635-66a07c9f98a7" providerId="AD" clId="Web-{C8C39F1F-632B-2C66-3756-C1AF0FCACA42}" dt="2023-07-28T20:17:03.397" v="111" actId="1076"/>
          <ac:spMkLst>
            <pc:docMk/>
            <pc:sldMk cId="268688356" sldId="2146846385"/>
            <ac:spMk id="12" creationId="{48DBBE49-ED73-2254-0BE5-A295569002D1}"/>
          </ac:spMkLst>
        </pc:spChg>
        <pc:spChg chg="mod">
          <ac:chgData name="Md Fahim Hasan" userId="S::mdfahim.hasan@bayer.com::92968fce-d4dd-4b9e-8635-66a07c9f98a7" providerId="AD" clId="Web-{C8C39F1F-632B-2C66-3756-C1AF0FCACA42}" dt="2023-07-28T20:15:50.442" v="90" actId="20577"/>
          <ac:spMkLst>
            <pc:docMk/>
            <pc:sldMk cId="268688356" sldId="2146846385"/>
            <ac:spMk id="13" creationId="{ED40BAEA-6059-01BF-513C-63213A436B11}"/>
          </ac:spMkLst>
        </pc:spChg>
        <pc:spChg chg="mod">
          <ac:chgData name="Md Fahim Hasan" userId="S::mdfahim.hasan@bayer.com::92968fce-d4dd-4b9e-8635-66a07c9f98a7" providerId="AD" clId="Web-{C8C39F1F-632B-2C66-3756-C1AF0FCACA42}" dt="2023-07-28T20:15:50.239" v="87" actId="20577"/>
          <ac:spMkLst>
            <pc:docMk/>
            <pc:sldMk cId="268688356" sldId="2146846385"/>
            <ac:spMk id="16" creationId="{C730CBBA-5438-1BB7-FC3E-835A799152A0}"/>
          </ac:spMkLst>
        </pc:spChg>
        <pc:spChg chg="mod">
          <ac:chgData name="Md Fahim Hasan" userId="S::mdfahim.hasan@bayer.com::92968fce-d4dd-4b9e-8635-66a07c9f98a7" providerId="AD" clId="Web-{C8C39F1F-632B-2C66-3756-C1AF0FCACA42}" dt="2023-07-28T20:15:50.302" v="88" actId="20577"/>
          <ac:spMkLst>
            <pc:docMk/>
            <pc:sldMk cId="268688356" sldId="2146846385"/>
            <ac:spMk id="23" creationId="{F6272827-6FD3-C491-ECC5-616854B9DA40}"/>
          </ac:spMkLst>
        </pc:spChg>
        <pc:spChg chg="mod">
          <ac:chgData name="Md Fahim Hasan" userId="S::mdfahim.hasan@bayer.com::92968fce-d4dd-4b9e-8635-66a07c9f98a7" providerId="AD" clId="Web-{C8C39F1F-632B-2C66-3756-C1AF0FCACA42}" dt="2023-07-28T20:15:50.364" v="89" actId="20577"/>
          <ac:spMkLst>
            <pc:docMk/>
            <pc:sldMk cId="268688356" sldId="2146846385"/>
            <ac:spMk id="24" creationId="{892028F1-03AC-5FA8-36F5-F9D01ABDD6FF}"/>
          </ac:spMkLst>
        </pc:spChg>
        <pc:spChg chg="mod">
          <ac:chgData name="Md Fahim Hasan" userId="S::mdfahim.hasan@bayer.com::92968fce-d4dd-4b9e-8635-66a07c9f98a7" providerId="AD" clId="Web-{C8C39F1F-632B-2C66-3756-C1AF0FCACA42}" dt="2023-07-28T20:15:50.864" v="101" actId="20577"/>
          <ac:spMkLst>
            <pc:docMk/>
            <pc:sldMk cId="268688356" sldId="2146846385"/>
            <ac:spMk id="25" creationId="{6DE7AC48-BFBE-6DB8-F329-F8493A883501}"/>
          </ac:spMkLst>
        </pc:spChg>
        <pc:spChg chg="mod">
          <ac:chgData name="Md Fahim Hasan" userId="S::mdfahim.hasan@bayer.com::92968fce-d4dd-4b9e-8635-66a07c9f98a7" providerId="AD" clId="Web-{C8C39F1F-632B-2C66-3756-C1AF0FCACA42}" dt="2023-07-28T20:15:50.520" v="91" actId="20577"/>
          <ac:spMkLst>
            <pc:docMk/>
            <pc:sldMk cId="268688356" sldId="2146846385"/>
            <ac:spMk id="32" creationId="{396805B4-5D00-3916-0629-59FE4F96CC1D}"/>
          </ac:spMkLst>
        </pc:spChg>
        <pc:spChg chg="mod">
          <ac:chgData name="Md Fahim Hasan" userId="S::mdfahim.hasan@bayer.com::92968fce-d4dd-4b9e-8635-66a07c9f98a7" providerId="AD" clId="Web-{C8C39F1F-632B-2C66-3756-C1AF0FCACA42}" dt="2023-07-28T20:15:50.599" v="92" actId="20577"/>
          <ac:spMkLst>
            <pc:docMk/>
            <pc:sldMk cId="268688356" sldId="2146846385"/>
            <ac:spMk id="35" creationId="{892304CE-0573-15AF-4177-D11426B8D75D}"/>
          </ac:spMkLst>
        </pc:spChg>
        <pc:spChg chg="mod">
          <ac:chgData name="Md Fahim Hasan" userId="S::mdfahim.hasan@bayer.com::92968fce-d4dd-4b9e-8635-66a07c9f98a7" providerId="AD" clId="Web-{C8C39F1F-632B-2C66-3756-C1AF0FCACA42}" dt="2023-07-28T20:15:50.661" v="93" actId="20577"/>
          <ac:spMkLst>
            <pc:docMk/>
            <pc:sldMk cId="268688356" sldId="2146846385"/>
            <ac:spMk id="36" creationId="{EFBE61BD-D473-5ED1-C858-519CD9430199}"/>
          </ac:spMkLst>
        </pc:spChg>
        <pc:spChg chg="mod">
          <ac:chgData name="Md Fahim Hasan" userId="S::mdfahim.hasan@bayer.com::92968fce-d4dd-4b9e-8635-66a07c9f98a7" providerId="AD" clId="Web-{C8C39F1F-632B-2C66-3756-C1AF0FCACA42}" dt="2023-07-28T20:15:50.739" v="94" actId="20577"/>
          <ac:spMkLst>
            <pc:docMk/>
            <pc:sldMk cId="268688356" sldId="2146846385"/>
            <ac:spMk id="48" creationId="{15E99825-C9AC-1D6E-A93B-EE359DEB615C}"/>
          </ac:spMkLst>
        </pc:spChg>
        <pc:spChg chg="mod">
          <ac:chgData name="Md Fahim Hasan" userId="S::mdfahim.hasan@bayer.com::92968fce-d4dd-4b9e-8635-66a07c9f98a7" providerId="AD" clId="Web-{C8C39F1F-632B-2C66-3756-C1AF0FCACA42}" dt="2023-07-28T20:15:50.770" v="95" actId="20577"/>
          <ac:spMkLst>
            <pc:docMk/>
            <pc:sldMk cId="268688356" sldId="2146846385"/>
            <ac:spMk id="51" creationId="{F0B8A31B-42FA-0224-8592-5D33531B2824}"/>
          </ac:spMkLst>
        </pc:spChg>
      </pc:sldChg>
      <pc:sldChg chg="modSp del">
        <pc:chgData name="Md Fahim Hasan" userId="S::mdfahim.hasan@bayer.com::92968fce-d4dd-4b9e-8635-66a07c9f98a7" providerId="AD" clId="Web-{C8C39F1F-632B-2C66-3756-C1AF0FCACA42}" dt="2023-07-28T20:26:07.671" v="684"/>
        <pc:sldMkLst>
          <pc:docMk/>
          <pc:sldMk cId="3299819554" sldId="2146846386"/>
        </pc:sldMkLst>
        <pc:spChg chg="mod">
          <ac:chgData name="Md Fahim Hasan" userId="S::mdfahim.hasan@bayer.com::92968fce-d4dd-4b9e-8635-66a07c9f98a7" providerId="AD" clId="Web-{C8C39F1F-632B-2C66-3756-C1AF0FCACA42}" dt="2023-07-28T20:18:22.367" v="121" actId="20577"/>
          <ac:spMkLst>
            <pc:docMk/>
            <pc:sldMk cId="3299819554" sldId="2146846386"/>
            <ac:spMk id="4" creationId="{6E725962-AA6E-3764-10EC-09E349BF7BE0}"/>
          </ac:spMkLst>
        </pc:spChg>
      </pc:sldChg>
      <pc:sldChg chg="addSp delSp modSp addAnim delAnim modAnim">
        <pc:chgData name="Md Fahim Hasan" userId="S::mdfahim.hasan@bayer.com::92968fce-d4dd-4b9e-8635-66a07c9f98a7" providerId="AD" clId="Web-{C8C39F1F-632B-2C66-3756-C1AF0FCACA42}" dt="2023-07-28T22:07:46.663" v="1878" actId="1076"/>
        <pc:sldMkLst>
          <pc:docMk/>
          <pc:sldMk cId="3028212172" sldId="2146846387"/>
        </pc:sldMkLst>
        <pc:spChg chg="mod">
          <ac:chgData name="Md Fahim Hasan" userId="S::mdfahim.hasan@bayer.com::92968fce-d4dd-4b9e-8635-66a07c9f98a7" providerId="AD" clId="Web-{C8C39F1F-632B-2C66-3756-C1AF0FCACA42}" dt="2023-07-28T20:58:34.727" v="891" actId="20577"/>
          <ac:spMkLst>
            <pc:docMk/>
            <pc:sldMk cId="3028212172" sldId="2146846387"/>
            <ac:spMk id="2" creationId="{D423FFAF-9CDC-ACC2-E90E-850A37957BAA}"/>
          </ac:spMkLst>
        </pc:spChg>
        <pc:spChg chg="mod">
          <ac:chgData name="Md Fahim Hasan" userId="S::mdfahim.hasan@bayer.com::92968fce-d4dd-4b9e-8635-66a07c9f98a7" providerId="AD" clId="Web-{C8C39F1F-632B-2C66-3756-C1AF0FCACA42}" dt="2023-07-28T20:58:34.758" v="892" actId="20577"/>
          <ac:spMkLst>
            <pc:docMk/>
            <pc:sldMk cId="3028212172" sldId="2146846387"/>
            <ac:spMk id="3" creationId="{BBE374DC-2B4D-CC21-509C-1EE76C7459BF}"/>
          </ac:spMkLst>
        </pc:spChg>
        <pc:spChg chg="mod">
          <ac:chgData name="Md Fahim Hasan" userId="S::mdfahim.hasan@bayer.com::92968fce-d4dd-4b9e-8635-66a07c9f98a7" providerId="AD" clId="Web-{C8C39F1F-632B-2C66-3756-C1AF0FCACA42}" dt="2023-07-28T20:58:35.149" v="904" actId="20577"/>
          <ac:spMkLst>
            <pc:docMk/>
            <pc:sldMk cId="3028212172" sldId="2146846387"/>
            <ac:spMk id="4" creationId="{D043F8F3-BE8A-7F42-F82A-E7E5540DE677}"/>
          </ac:spMkLst>
        </pc:spChg>
        <pc:spChg chg="del mod">
          <ac:chgData name="Md Fahim Hasan" userId="S::mdfahim.hasan@bayer.com::92968fce-d4dd-4b9e-8635-66a07c9f98a7" providerId="AD" clId="Web-{C8C39F1F-632B-2C66-3756-C1AF0FCACA42}" dt="2023-07-28T21:56:07.790" v="1724"/>
          <ac:spMkLst>
            <pc:docMk/>
            <pc:sldMk cId="3028212172" sldId="2146846387"/>
            <ac:spMk id="5" creationId="{9F7F57A7-442D-82AB-3AD9-521A308C82AF}"/>
          </ac:spMkLst>
        </pc:spChg>
        <pc:spChg chg="mod">
          <ac:chgData name="Md Fahim Hasan" userId="S::mdfahim.hasan@bayer.com::92968fce-d4dd-4b9e-8635-66a07c9f98a7" providerId="AD" clId="Web-{C8C39F1F-632B-2C66-3756-C1AF0FCACA42}" dt="2023-07-28T20:58:34.805" v="894" actId="20577"/>
          <ac:spMkLst>
            <pc:docMk/>
            <pc:sldMk cId="3028212172" sldId="2146846387"/>
            <ac:spMk id="6" creationId="{D027ECB3-9E9A-490C-3B18-F9FAFF0F379D}"/>
          </ac:spMkLst>
        </pc:spChg>
        <pc:spChg chg="mod">
          <ac:chgData name="Md Fahim Hasan" userId="S::mdfahim.hasan@bayer.com::92968fce-d4dd-4b9e-8635-66a07c9f98a7" providerId="AD" clId="Web-{C8C39F1F-632B-2C66-3756-C1AF0FCACA42}" dt="2023-07-28T20:58:34.852" v="895" actId="20577"/>
          <ac:spMkLst>
            <pc:docMk/>
            <pc:sldMk cId="3028212172" sldId="2146846387"/>
            <ac:spMk id="7" creationId="{42710935-B651-FC59-77DA-0FCAAAFDFECA}"/>
          </ac:spMkLst>
        </pc:spChg>
        <pc:spChg chg="mod">
          <ac:chgData name="Md Fahim Hasan" userId="S::mdfahim.hasan@bayer.com::92968fce-d4dd-4b9e-8635-66a07c9f98a7" providerId="AD" clId="Web-{C8C39F1F-632B-2C66-3756-C1AF0FCACA42}" dt="2023-07-28T20:58:34.868" v="896" actId="20577"/>
          <ac:spMkLst>
            <pc:docMk/>
            <pc:sldMk cId="3028212172" sldId="2146846387"/>
            <ac:spMk id="8" creationId="{A4B40D14-0A2C-A05B-A83A-19A0895929AA}"/>
          </ac:spMkLst>
        </pc:spChg>
        <pc:spChg chg="mod">
          <ac:chgData name="Md Fahim Hasan" userId="S::mdfahim.hasan@bayer.com::92968fce-d4dd-4b9e-8635-66a07c9f98a7" providerId="AD" clId="Web-{C8C39F1F-632B-2C66-3756-C1AF0FCACA42}" dt="2023-07-28T20:58:34.711" v="890" actId="20577"/>
          <ac:spMkLst>
            <pc:docMk/>
            <pc:sldMk cId="3028212172" sldId="2146846387"/>
            <ac:spMk id="9" creationId="{DCE765C9-F866-A10C-05BC-B0F5CF7D4FA9}"/>
          </ac:spMkLst>
        </pc:spChg>
        <pc:spChg chg="mod">
          <ac:chgData name="Md Fahim Hasan" userId="S::mdfahim.hasan@bayer.com::92968fce-d4dd-4b9e-8635-66a07c9f98a7" providerId="AD" clId="Web-{C8C39F1F-632B-2C66-3756-C1AF0FCACA42}" dt="2023-07-28T20:58:34.899" v="897" actId="20577"/>
          <ac:spMkLst>
            <pc:docMk/>
            <pc:sldMk cId="3028212172" sldId="2146846387"/>
            <ac:spMk id="10" creationId="{2393CE26-9104-47DD-1444-9251A959AAF8}"/>
          </ac:spMkLst>
        </pc:spChg>
        <pc:spChg chg="mod">
          <ac:chgData name="Md Fahim Hasan" userId="S::mdfahim.hasan@bayer.com::92968fce-d4dd-4b9e-8635-66a07c9f98a7" providerId="AD" clId="Web-{C8C39F1F-632B-2C66-3756-C1AF0FCACA42}" dt="2023-07-28T20:58:35.164" v="905" actId="20577"/>
          <ac:spMkLst>
            <pc:docMk/>
            <pc:sldMk cId="3028212172" sldId="2146846387"/>
            <ac:spMk id="13" creationId="{137E2CE9-EBB9-47F2-D448-6F87B80F8B98}"/>
          </ac:spMkLst>
        </pc:spChg>
        <pc:spChg chg="mod">
          <ac:chgData name="Md Fahim Hasan" userId="S::mdfahim.hasan@bayer.com::92968fce-d4dd-4b9e-8635-66a07c9f98a7" providerId="AD" clId="Web-{C8C39F1F-632B-2C66-3756-C1AF0FCACA42}" dt="2023-07-28T22:07:46.663" v="1878" actId="1076"/>
          <ac:spMkLst>
            <pc:docMk/>
            <pc:sldMk cId="3028212172" sldId="2146846387"/>
            <ac:spMk id="14" creationId="{2A6BA7AF-D205-E886-D912-9543E1E2B037}"/>
          </ac:spMkLst>
        </pc:spChg>
        <pc:spChg chg="mod">
          <ac:chgData name="Md Fahim Hasan" userId="S::mdfahim.hasan@bayer.com::92968fce-d4dd-4b9e-8635-66a07c9f98a7" providerId="AD" clId="Web-{C8C39F1F-632B-2C66-3756-C1AF0FCACA42}" dt="2023-07-28T20:58:34.930" v="898" actId="20577"/>
          <ac:spMkLst>
            <pc:docMk/>
            <pc:sldMk cId="3028212172" sldId="2146846387"/>
            <ac:spMk id="16" creationId="{84F5F83C-35E6-5099-E1AF-3CD54D9B2E5D}"/>
          </ac:spMkLst>
        </pc:spChg>
        <pc:spChg chg="mod">
          <ac:chgData name="Md Fahim Hasan" userId="S::mdfahim.hasan@bayer.com::92968fce-d4dd-4b9e-8635-66a07c9f98a7" providerId="AD" clId="Web-{C8C39F1F-632B-2C66-3756-C1AF0FCACA42}" dt="2023-07-28T20:58:34.977" v="899" actId="20577"/>
          <ac:spMkLst>
            <pc:docMk/>
            <pc:sldMk cId="3028212172" sldId="2146846387"/>
            <ac:spMk id="17" creationId="{312523D9-B3BC-1E8B-706E-D99E9EB5EB72}"/>
          </ac:spMkLst>
        </pc:spChg>
        <pc:spChg chg="add">
          <ac:chgData name="Md Fahim Hasan" userId="S::mdfahim.hasan@bayer.com::92968fce-d4dd-4b9e-8635-66a07c9f98a7" providerId="AD" clId="Web-{C8C39F1F-632B-2C66-3756-C1AF0FCACA42}" dt="2023-07-28T21:56:10.087" v="1726"/>
          <ac:spMkLst>
            <pc:docMk/>
            <pc:sldMk cId="3028212172" sldId="2146846387"/>
            <ac:spMk id="18" creationId="{C5FE9689-3EFF-4CFA-8CAB-79D80D1EB571}"/>
          </ac:spMkLst>
        </pc:spChg>
        <pc:spChg chg="mod">
          <ac:chgData name="Md Fahim Hasan" userId="S::mdfahim.hasan@bayer.com::92968fce-d4dd-4b9e-8635-66a07c9f98a7" providerId="AD" clId="Web-{C8C39F1F-632B-2C66-3756-C1AF0FCACA42}" dt="2023-07-28T20:58:35.102" v="902" actId="20577"/>
          <ac:spMkLst>
            <pc:docMk/>
            <pc:sldMk cId="3028212172" sldId="2146846387"/>
            <ac:spMk id="29" creationId="{8CD0F935-01B0-9D95-506D-764C60647B30}"/>
          </ac:spMkLst>
        </pc:spChg>
        <pc:spChg chg="mod">
          <ac:chgData name="Md Fahim Hasan" userId="S::mdfahim.hasan@bayer.com::92968fce-d4dd-4b9e-8635-66a07c9f98a7" providerId="AD" clId="Web-{C8C39F1F-632B-2C66-3756-C1AF0FCACA42}" dt="2023-07-28T20:58:35.024" v="900" actId="20577"/>
          <ac:spMkLst>
            <pc:docMk/>
            <pc:sldMk cId="3028212172" sldId="2146846387"/>
            <ac:spMk id="41" creationId="{AF888FBF-A457-95EB-8F40-9876975F7B07}"/>
          </ac:spMkLst>
        </pc:spChg>
        <pc:spChg chg="mod">
          <ac:chgData name="Md Fahim Hasan" userId="S::mdfahim.hasan@bayer.com::92968fce-d4dd-4b9e-8635-66a07c9f98a7" providerId="AD" clId="Web-{C8C39F1F-632B-2C66-3756-C1AF0FCACA42}" dt="2023-07-28T20:58:35.055" v="901" actId="20577"/>
          <ac:spMkLst>
            <pc:docMk/>
            <pc:sldMk cId="3028212172" sldId="2146846387"/>
            <ac:spMk id="49" creationId="{19C589D2-8479-4B0D-4A80-DEFC3E7C4CC5}"/>
          </ac:spMkLst>
        </pc:spChg>
        <pc:spChg chg="mod">
          <ac:chgData name="Md Fahim Hasan" userId="S::mdfahim.hasan@bayer.com::92968fce-d4dd-4b9e-8635-66a07c9f98a7" providerId="AD" clId="Web-{C8C39F1F-632B-2C66-3756-C1AF0FCACA42}" dt="2023-07-28T20:58:35.133" v="903" actId="20577"/>
          <ac:spMkLst>
            <pc:docMk/>
            <pc:sldMk cId="3028212172" sldId="2146846387"/>
            <ac:spMk id="58" creationId="{FD8AE705-62F3-6720-69B6-2F00BA9FD743}"/>
          </ac:spMkLst>
        </pc:spChg>
        <pc:cxnChg chg="add">
          <ac:chgData name="Md Fahim Hasan" userId="S::mdfahim.hasan@bayer.com::92968fce-d4dd-4b9e-8635-66a07c9f98a7" providerId="AD" clId="Web-{C8C39F1F-632B-2C66-3756-C1AF0FCACA42}" dt="2023-07-28T21:56:10.103" v="1727"/>
          <ac:cxnSpMkLst>
            <pc:docMk/>
            <pc:sldMk cId="3028212172" sldId="2146846387"/>
            <ac:cxnSpMk id="21" creationId="{7D9D8FA7-35A1-ABCD-F9E7-838CF9CD91B3}"/>
          </ac:cxnSpMkLst>
        </pc:cxnChg>
        <pc:cxnChg chg="del mod">
          <ac:chgData name="Md Fahim Hasan" userId="S::mdfahim.hasan@bayer.com::92968fce-d4dd-4b9e-8635-66a07c9f98a7" providerId="AD" clId="Web-{C8C39F1F-632B-2C66-3756-C1AF0FCACA42}" dt="2023-07-28T21:56:09.040" v="1725"/>
          <ac:cxnSpMkLst>
            <pc:docMk/>
            <pc:sldMk cId="3028212172" sldId="2146846387"/>
            <ac:cxnSpMk id="74" creationId="{7C59F5D8-CB92-52E7-C960-05BF652B3B6E}"/>
          </ac:cxnSpMkLst>
        </pc:cxnChg>
      </pc:sldChg>
      <pc:sldChg chg="modSp">
        <pc:chgData name="Md Fahim Hasan" userId="S::mdfahim.hasan@bayer.com::92968fce-d4dd-4b9e-8635-66a07c9f98a7" providerId="AD" clId="Web-{C8C39F1F-632B-2C66-3756-C1AF0FCACA42}" dt="2023-07-28T21:58:09.324" v="1742" actId="20577"/>
        <pc:sldMkLst>
          <pc:docMk/>
          <pc:sldMk cId="50484898" sldId="2146846388"/>
        </pc:sldMkLst>
        <pc:spChg chg="mod">
          <ac:chgData name="Md Fahim Hasan" userId="S::mdfahim.hasan@bayer.com::92968fce-d4dd-4b9e-8635-66a07c9f98a7" providerId="AD" clId="Web-{C8C39F1F-632B-2C66-3756-C1AF0FCACA42}" dt="2023-07-28T21:57:46.823" v="1738" actId="20577"/>
          <ac:spMkLst>
            <pc:docMk/>
            <pc:sldMk cId="50484898" sldId="2146846388"/>
            <ac:spMk id="9" creationId="{DCE765C9-F866-A10C-05BC-B0F5CF7D4FA9}"/>
          </ac:spMkLst>
        </pc:spChg>
        <pc:spChg chg="mod">
          <ac:chgData name="Md Fahim Hasan" userId="S::mdfahim.hasan@bayer.com::92968fce-d4dd-4b9e-8635-66a07c9f98a7" providerId="AD" clId="Web-{C8C39F1F-632B-2C66-3756-C1AF0FCACA42}" dt="2023-07-28T21:58:09.324" v="1742" actId="20577"/>
          <ac:spMkLst>
            <pc:docMk/>
            <pc:sldMk cId="50484898" sldId="2146846388"/>
            <ac:spMk id="20" creationId="{D8E263AE-6047-CA16-0E7E-853CAB8E6BF3}"/>
          </ac:spMkLst>
        </pc:spChg>
      </pc:sldChg>
      <pc:sldChg chg="modSp delAnim">
        <pc:chgData name="Md Fahim Hasan" userId="S::mdfahim.hasan@bayer.com::92968fce-d4dd-4b9e-8635-66a07c9f98a7" providerId="AD" clId="Web-{C8C39F1F-632B-2C66-3756-C1AF0FCACA42}" dt="2023-07-28T22:01:39.265" v="1805"/>
        <pc:sldMkLst>
          <pc:docMk/>
          <pc:sldMk cId="1048505515" sldId="2146846389"/>
        </pc:sldMkLst>
        <pc:spChg chg="mod">
          <ac:chgData name="Md Fahim Hasan" userId="S::mdfahim.hasan@bayer.com::92968fce-d4dd-4b9e-8635-66a07c9f98a7" providerId="AD" clId="Web-{C8C39F1F-632B-2C66-3756-C1AF0FCACA42}" dt="2023-07-28T21:58:35.106" v="1751" actId="1076"/>
          <ac:spMkLst>
            <pc:docMk/>
            <pc:sldMk cId="1048505515" sldId="2146846389"/>
            <ac:spMk id="7" creationId="{39AA71CF-08AD-0070-5A05-46979ADD10E0}"/>
          </ac:spMkLst>
        </pc:spChg>
        <pc:spChg chg="mod">
          <ac:chgData name="Md Fahim Hasan" userId="S::mdfahim.hasan@bayer.com::92968fce-d4dd-4b9e-8635-66a07c9f98a7" providerId="AD" clId="Web-{C8C39F1F-632B-2C66-3756-C1AF0FCACA42}" dt="2023-07-28T21:58:37.465" v="1752" actId="1076"/>
          <ac:spMkLst>
            <pc:docMk/>
            <pc:sldMk cId="1048505515" sldId="2146846389"/>
            <ac:spMk id="9" creationId="{DCE765C9-F866-A10C-05BC-B0F5CF7D4FA9}"/>
          </ac:spMkLst>
        </pc:spChg>
      </pc:sldChg>
      <pc:sldChg chg="modSp">
        <pc:chgData name="Md Fahim Hasan" userId="S::mdfahim.hasan@bayer.com::92968fce-d4dd-4b9e-8635-66a07c9f98a7" providerId="AD" clId="Web-{C8C39F1F-632B-2C66-3756-C1AF0FCACA42}" dt="2023-07-28T21:57:35.776" v="1733" actId="20577"/>
        <pc:sldMkLst>
          <pc:docMk/>
          <pc:sldMk cId="2477569122" sldId="2146846390"/>
        </pc:sldMkLst>
        <pc:spChg chg="mod">
          <ac:chgData name="Md Fahim Hasan" userId="S::mdfahim.hasan@bayer.com::92968fce-d4dd-4b9e-8635-66a07c9f98a7" providerId="AD" clId="Web-{C8C39F1F-632B-2C66-3756-C1AF0FCACA42}" dt="2023-07-28T21:57:35.776" v="1733" actId="20577"/>
          <ac:spMkLst>
            <pc:docMk/>
            <pc:sldMk cId="2477569122" sldId="2146846390"/>
            <ac:spMk id="9" creationId="{DCE765C9-F866-A10C-05BC-B0F5CF7D4FA9}"/>
          </ac:spMkLst>
        </pc:spChg>
      </pc:sldChg>
      <pc:sldChg chg="modSp delAnim">
        <pc:chgData name="Md Fahim Hasan" userId="S::mdfahim.hasan@bayer.com::92968fce-d4dd-4b9e-8635-66a07c9f98a7" providerId="AD" clId="Web-{C8C39F1F-632B-2C66-3756-C1AF0FCACA42}" dt="2023-07-28T21:25:09.803" v="1126" actId="20577"/>
        <pc:sldMkLst>
          <pc:docMk/>
          <pc:sldMk cId="2208349164" sldId="2146846392"/>
        </pc:sldMkLst>
        <pc:spChg chg="mod">
          <ac:chgData name="Md Fahim Hasan" userId="S::mdfahim.hasan@bayer.com::92968fce-d4dd-4b9e-8635-66a07c9f98a7" providerId="AD" clId="Web-{C8C39F1F-632B-2C66-3756-C1AF0FCACA42}" dt="2023-07-28T21:04:37.718" v="1001" actId="20577"/>
          <ac:spMkLst>
            <pc:docMk/>
            <pc:sldMk cId="2208349164" sldId="2146846392"/>
            <ac:spMk id="2" creationId="{E6BEB49A-2464-E7CC-0559-7A1ACBF185C0}"/>
          </ac:spMkLst>
        </pc:spChg>
        <pc:spChg chg="mod">
          <ac:chgData name="Md Fahim Hasan" userId="S::mdfahim.hasan@bayer.com::92968fce-d4dd-4b9e-8635-66a07c9f98a7" providerId="AD" clId="Web-{C8C39F1F-632B-2C66-3756-C1AF0FCACA42}" dt="2023-07-28T21:25:09.803" v="1126" actId="20577"/>
          <ac:spMkLst>
            <pc:docMk/>
            <pc:sldMk cId="2208349164" sldId="2146846392"/>
            <ac:spMk id="4" creationId="{B4EACCC8-A0AE-2AB6-B07C-62D44ABA8828}"/>
          </ac:spMkLst>
        </pc:spChg>
        <pc:spChg chg="mod">
          <ac:chgData name="Md Fahim Hasan" userId="S::mdfahim.hasan@bayer.com::92968fce-d4dd-4b9e-8635-66a07c9f98a7" providerId="AD" clId="Web-{C8C39F1F-632B-2C66-3756-C1AF0FCACA42}" dt="2023-07-28T21:04:37.749" v="1003" actId="20577"/>
          <ac:spMkLst>
            <pc:docMk/>
            <pc:sldMk cId="2208349164" sldId="2146846392"/>
            <ac:spMk id="5" creationId="{2C4B97AD-3481-D64C-B324-757BD5800ED7}"/>
          </ac:spMkLst>
        </pc:spChg>
        <pc:spChg chg="mod">
          <ac:chgData name="Md Fahim Hasan" userId="S::mdfahim.hasan@bayer.com::92968fce-d4dd-4b9e-8635-66a07c9f98a7" providerId="AD" clId="Web-{C8C39F1F-632B-2C66-3756-C1AF0FCACA42}" dt="2023-07-28T21:04:37.765" v="1004" actId="20577"/>
          <ac:spMkLst>
            <pc:docMk/>
            <pc:sldMk cId="2208349164" sldId="2146846392"/>
            <ac:spMk id="7" creationId="{FF569CC5-F4F5-11D1-7477-3BA17EB63AD1}"/>
          </ac:spMkLst>
        </pc:spChg>
        <pc:spChg chg="mod">
          <ac:chgData name="Md Fahim Hasan" userId="S::mdfahim.hasan@bayer.com::92968fce-d4dd-4b9e-8635-66a07c9f98a7" providerId="AD" clId="Web-{C8C39F1F-632B-2C66-3756-C1AF0FCACA42}" dt="2023-07-28T21:04:55.171" v="1015" actId="1076"/>
          <ac:spMkLst>
            <pc:docMk/>
            <pc:sldMk cId="2208349164" sldId="2146846392"/>
            <ac:spMk id="9" creationId="{DCE765C9-F866-A10C-05BC-B0F5CF7D4FA9}"/>
          </ac:spMkLst>
        </pc:spChg>
        <pc:spChg chg="mod">
          <ac:chgData name="Md Fahim Hasan" userId="S::mdfahim.hasan@bayer.com::92968fce-d4dd-4b9e-8635-66a07c9f98a7" providerId="AD" clId="Web-{C8C39F1F-632B-2C66-3756-C1AF0FCACA42}" dt="2023-07-28T21:13:15.056" v="1101" actId="1076"/>
          <ac:spMkLst>
            <pc:docMk/>
            <pc:sldMk cId="2208349164" sldId="2146846392"/>
            <ac:spMk id="10" creationId="{89F62B33-C92D-CA80-B773-7CF7B8562165}"/>
          </ac:spMkLst>
        </pc:spChg>
        <pc:spChg chg="mod">
          <ac:chgData name="Md Fahim Hasan" userId="S::mdfahim.hasan@bayer.com::92968fce-d4dd-4b9e-8635-66a07c9f98a7" providerId="AD" clId="Web-{C8C39F1F-632B-2C66-3756-C1AF0FCACA42}" dt="2023-07-28T21:13:17.446" v="1102" actId="1076"/>
          <ac:spMkLst>
            <pc:docMk/>
            <pc:sldMk cId="2208349164" sldId="2146846392"/>
            <ac:spMk id="11" creationId="{D0B5A9D1-BF3F-73D8-C3F1-1F35EF034257}"/>
          </ac:spMkLst>
        </pc:spChg>
        <pc:spChg chg="mod">
          <ac:chgData name="Md Fahim Hasan" userId="S::mdfahim.hasan@bayer.com::92968fce-d4dd-4b9e-8635-66a07c9f98a7" providerId="AD" clId="Web-{C8C39F1F-632B-2C66-3756-C1AF0FCACA42}" dt="2023-07-28T21:13:19.915" v="1103" actId="1076"/>
          <ac:spMkLst>
            <pc:docMk/>
            <pc:sldMk cId="2208349164" sldId="2146846392"/>
            <ac:spMk id="12" creationId="{1C43CC01-EEB6-8A13-7031-48BEDC3B6F27}"/>
          </ac:spMkLst>
        </pc:spChg>
        <pc:spChg chg="mod">
          <ac:chgData name="Md Fahim Hasan" userId="S::mdfahim.hasan@bayer.com::92968fce-d4dd-4b9e-8635-66a07c9f98a7" providerId="AD" clId="Web-{C8C39F1F-632B-2C66-3756-C1AF0FCACA42}" dt="2023-07-28T21:04:37.702" v="1000" actId="20577"/>
          <ac:spMkLst>
            <pc:docMk/>
            <pc:sldMk cId="2208349164" sldId="2146846392"/>
            <ac:spMk id="19" creationId="{688695E6-03F4-CEE4-56E6-1BA85F5F2FA3}"/>
          </ac:spMkLst>
        </pc:spChg>
      </pc:sldChg>
      <pc:sldChg chg="modSp mod modShow">
        <pc:chgData name="Md Fahim Hasan" userId="S::mdfahim.hasan@bayer.com::92968fce-d4dd-4b9e-8635-66a07c9f98a7" providerId="AD" clId="Web-{C8C39F1F-632B-2C66-3756-C1AF0FCACA42}" dt="2023-07-28T21:59:03.278" v="1761" actId="14100"/>
        <pc:sldMkLst>
          <pc:docMk/>
          <pc:sldMk cId="1203333433" sldId="2146846393"/>
        </pc:sldMkLst>
        <pc:spChg chg="mod">
          <ac:chgData name="Md Fahim Hasan" userId="S::mdfahim.hasan@bayer.com::92968fce-d4dd-4b9e-8635-66a07c9f98a7" providerId="AD" clId="Web-{C8C39F1F-632B-2C66-3756-C1AF0FCACA42}" dt="2023-07-28T21:59:03.278" v="1761" actId="14100"/>
          <ac:spMkLst>
            <pc:docMk/>
            <pc:sldMk cId="1203333433" sldId="2146846393"/>
            <ac:spMk id="9" creationId="{DCE765C9-F866-A10C-05BC-B0F5CF7D4FA9}"/>
          </ac:spMkLst>
        </pc:spChg>
      </pc:sldChg>
      <pc:sldChg chg="modSp mod modShow">
        <pc:chgData name="Md Fahim Hasan" userId="S::mdfahim.hasan@bayer.com::92968fce-d4dd-4b9e-8635-66a07c9f98a7" providerId="AD" clId="Web-{C8C39F1F-632B-2C66-3756-C1AF0FCACA42}" dt="2023-07-28T22:03:02.173" v="1845" actId="20577"/>
        <pc:sldMkLst>
          <pc:docMk/>
          <pc:sldMk cId="310068329" sldId="2146846396"/>
        </pc:sldMkLst>
        <pc:spChg chg="mod">
          <ac:chgData name="Md Fahim Hasan" userId="S::mdfahim.hasan@bayer.com::92968fce-d4dd-4b9e-8635-66a07c9f98a7" providerId="AD" clId="Web-{C8C39F1F-632B-2C66-3756-C1AF0FCACA42}" dt="2023-07-28T22:03:02.173" v="1845" actId="20577"/>
          <ac:spMkLst>
            <pc:docMk/>
            <pc:sldMk cId="310068329" sldId="2146846396"/>
            <ac:spMk id="9" creationId="{DCE765C9-F866-A10C-05BC-B0F5CF7D4FA9}"/>
          </ac:spMkLst>
        </pc:spChg>
      </pc:sldChg>
      <pc:sldChg chg="modSp">
        <pc:chgData name="Md Fahim Hasan" userId="S::mdfahim.hasan@bayer.com::92968fce-d4dd-4b9e-8635-66a07c9f98a7" providerId="AD" clId="Web-{C8C39F1F-632B-2C66-3756-C1AF0FCACA42}" dt="2023-07-28T21:12:57.524" v="1100" actId="1076"/>
        <pc:sldMkLst>
          <pc:docMk/>
          <pc:sldMk cId="4153267118" sldId="2146846397"/>
        </pc:sldMkLst>
        <pc:spChg chg="mod">
          <ac:chgData name="Md Fahim Hasan" userId="S::mdfahim.hasan@bayer.com::92968fce-d4dd-4b9e-8635-66a07c9f98a7" providerId="AD" clId="Web-{C8C39F1F-632B-2C66-3756-C1AF0FCACA42}" dt="2023-07-28T21:08:21.707" v="1062" actId="20577"/>
          <ac:spMkLst>
            <pc:docMk/>
            <pc:sldMk cId="4153267118" sldId="2146846397"/>
            <ac:spMk id="2" creationId="{1C82C6A7-0B60-5904-7191-52D87BAE4CAA}"/>
          </ac:spMkLst>
        </pc:spChg>
        <pc:spChg chg="mod">
          <ac:chgData name="Md Fahim Hasan" userId="S::mdfahim.hasan@bayer.com::92968fce-d4dd-4b9e-8635-66a07c9f98a7" providerId="AD" clId="Web-{C8C39F1F-632B-2C66-3756-C1AF0FCACA42}" dt="2023-07-28T21:12:57.524" v="1100" actId="1076"/>
          <ac:spMkLst>
            <pc:docMk/>
            <pc:sldMk cId="4153267118" sldId="2146846397"/>
            <ac:spMk id="5" creationId="{3AC0F889-BED4-C74B-8469-EEF1A8DA53E0}"/>
          </ac:spMkLst>
        </pc:spChg>
        <pc:spChg chg="mod">
          <ac:chgData name="Md Fahim Hasan" userId="S::mdfahim.hasan@bayer.com::92968fce-d4dd-4b9e-8635-66a07c9f98a7" providerId="AD" clId="Web-{C8C39F1F-632B-2C66-3756-C1AF0FCACA42}" dt="2023-07-28T21:12:42.055" v="1098" actId="1076"/>
          <ac:spMkLst>
            <pc:docMk/>
            <pc:sldMk cId="4153267118" sldId="2146846397"/>
            <ac:spMk id="7" creationId="{E7D98BCB-75F7-D5E6-DBFC-7E8617B6E4CF}"/>
          </ac:spMkLst>
        </pc:spChg>
        <pc:spChg chg="mod">
          <ac:chgData name="Md Fahim Hasan" userId="S::mdfahim.hasan@bayer.com::92968fce-d4dd-4b9e-8635-66a07c9f98a7" providerId="AD" clId="Web-{C8C39F1F-632B-2C66-3756-C1AF0FCACA42}" dt="2023-07-28T21:12:44.930" v="1099" actId="1076"/>
          <ac:spMkLst>
            <pc:docMk/>
            <pc:sldMk cId="4153267118" sldId="2146846397"/>
            <ac:spMk id="8" creationId="{7DF1818C-1117-E333-723F-871FC2937F8E}"/>
          </ac:spMkLst>
        </pc:spChg>
        <pc:spChg chg="mod">
          <ac:chgData name="Md Fahim Hasan" userId="S::mdfahim.hasan@bayer.com::92968fce-d4dd-4b9e-8635-66a07c9f98a7" providerId="AD" clId="Web-{C8C39F1F-632B-2C66-3756-C1AF0FCACA42}" dt="2023-07-28T21:09:40.271" v="1074" actId="20577"/>
          <ac:spMkLst>
            <pc:docMk/>
            <pc:sldMk cId="4153267118" sldId="2146846397"/>
            <ac:spMk id="9" creationId="{DCE765C9-F866-A10C-05BC-B0F5CF7D4FA9}"/>
          </ac:spMkLst>
        </pc:spChg>
        <pc:spChg chg="mod">
          <ac:chgData name="Md Fahim Hasan" userId="S::mdfahim.hasan@bayer.com::92968fce-d4dd-4b9e-8635-66a07c9f98a7" providerId="AD" clId="Web-{C8C39F1F-632B-2C66-3756-C1AF0FCACA42}" dt="2023-07-28T21:08:21.691" v="1061" actId="20577"/>
          <ac:spMkLst>
            <pc:docMk/>
            <pc:sldMk cId="4153267118" sldId="2146846397"/>
            <ac:spMk id="10" creationId="{DDD763E9-CE6D-7E6C-735D-E01DF9793F16}"/>
          </ac:spMkLst>
        </pc:spChg>
        <pc:spChg chg="mod">
          <ac:chgData name="Md Fahim Hasan" userId="S::mdfahim.hasan@bayer.com::92968fce-d4dd-4b9e-8635-66a07c9f98a7" providerId="AD" clId="Web-{C8C39F1F-632B-2C66-3756-C1AF0FCACA42}" dt="2023-07-28T21:08:21.707" v="1063" actId="20577"/>
          <ac:spMkLst>
            <pc:docMk/>
            <pc:sldMk cId="4153267118" sldId="2146846397"/>
            <ac:spMk id="15" creationId="{284698FD-408B-BDA8-0B46-03D08E09360F}"/>
          </ac:spMkLst>
        </pc:spChg>
        <pc:spChg chg="mod">
          <ac:chgData name="Md Fahim Hasan" userId="S::mdfahim.hasan@bayer.com::92968fce-d4dd-4b9e-8635-66a07c9f98a7" providerId="AD" clId="Web-{C8C39F1F-632B-2C66-3756-C1AF0FCACA42}" dt="2023-07-28T21:08:21.722" v="1065" actId="20577"/>
          <ac:spMkLst>
            <pc:docMk/>
            <pc:sldMk cId="4153267118" sldId="2146846397"/>
            <ac:spMk id="16" creationId="{8ECD6CE6-69D3-78B9-8E18-25AD59E4A71B}"/>
          </ac:spMkLst>
        </pc:spChg>
        <pc:spChg chg="mod">
          <ac:chgData name="Md Fahim Hasan" userId="S::mdfahim.hasan@bayer.com::92968fce-d4dd-4b9e-8635-66a07c9f98a7" providerId="AD" clId="Web-{C8C39F1F-632B-2C66-3756-C1AF0FCACA42}" dt="2023-07-28T21:08:21.738" v="1067" actId="20577"/>
          <ac:spMkLst>
            <pc:docMk/>
            <pc:sldMk cId="4153267118" sldId="2146846397"/>
            <ac:spMk id="17" creationId="{4A85A3A9-4CA3-0AC7-5AC0-EFA7296F9A6B}"/>
          </ac:spMkLst>
        </pc:spChg>
      </pc:sldChg>
      <pc:sldChg chg="modSp mod modShow">
        <pc:chgData name="Md Fahim Hasan" userId="S::mdfahim.hasan@bayer.com::92968fce-d4dd-4b9e-8635-66a07c9f98a7" providerId="AD" clId="Web-{C8C39F1F-632B-2C66-3756-C1AF0FCACA42}" dt="2023-07-28T22:03:22.674" v="1851" actId="20577"/>
        <pc:sldMkLst>
          <pc:docMk/>
          <pc:sldMk cId="371844730" sldId="2146846398"/>
        </pc:sldMkLst>
        <pc:spChg chg="mod">
          <ac:chgData name="Md Fahim Hasan" userId="S::mdfahim.hasan@bayer.com::92968fce-d4dd-4b9e-8635-66a07c9f98a7" providerId="AD" clId="Web-{C8C39F1F-632B-2C66-3756-C1AF0FCACA42}" dt="2023-07-28T22:03:22.674" v="1851" actId="20577"/>
          <ac:spMkLst>
            <pc:docMk/>
            <pc:sldMk cId="371844730" sldId="2146846398"/>
            <ac:spMk id="9" creationId="{DCE765C9-F866-A10C-05BC-B0F5CF7D4FA9}"/>
          </ac:spMkLst>
        </pc:spChg>
      </pc:sldChg>
      <pc:sldChg chg="modSp">
        <pc:chgData name="Md Fahim Hasan" userId="S::mdfahim.hasan@bayer.com::92968fce-d4dd-4b9e-8635-66a07c9f98a7" providerId="AD" clId="Web-{C8C39F1F-632B-2C66-3756-C1AF0FCACA42}" dt="2023-07-28T21:24:29.568" v="1118" actId="20577"/>
        <pc:sldMkLst>
          <pc:docMk/>
          <pc:sldMk cId="3321549302" sldId="2146846400"/>
        </pc:sldMkLst>
        <pc:spChg chg="mod">
          <ac:chgData name="Md Fahim Hasan" userId="S::mdfahim.hasan@bayer.com::92968fce-d4dd-4b9e-8635-66a07c9f98a7" providerId="AD" clId="Web-{C8C39F1F-632B-2C66-3756-C1AF0FCACA42}" dt="2023-07-28T21:07:28.721" v="1039" actId="20577"/>
          <ac:spMkLst>
            <pc:docMk/>
            <pc:sldMk cId="3321549302" sldId="2146846400"/>
            <ac:spMk id="2" creationId="{99AE1A04-85B3-C2B8-36C1-23AD8083AA4B}"/>
          </ac:spMkLst>
        </pc:spChg>
        <pc:spChg chg="mod">
          <ac:chgData name="Md Fahim Hasan" userId="S::mdfahim.hasan@bayer.com::92968fce-d4dd-4b9e-8635-66a07c9f98a7" providerId="AD" clId="Web-{C8C39F1F-632B-2C66-3756-C1AF0FCACA42}" dt="2023-07-28T21:24:29.568" v="1118" actId="20577"/>
          <ac:spMkLst>
            <pc:docMk/>
            <pc:sldMk cId="3321549302" sldId="2146846400"/>
            <ac:spMk id="4" creationId="{17BD92E2-3887-479A-D757-38D7889A9875}"/>
          </ac:spMkLst>
        </pc:spChg>
        <pc:spChg chg="mod">
          <ac:chgData name="Md Fahim Hasan" userId="S::mdfahim.hasan@bayer.com::92968fce-d4dd-4b9e-8635-66a07c9f98a7" providerId="AD" clId="Web-{C8C39F1F-632B-2C66-3756-C1AF0FCACA42}" dt="2023-07-28T21:07:53.737" v="1052" actId="1076"/>
          <ac:spMkLst>
            <pc:docMk/>
            <pc:sldMk cId="3321549302" sldId="2146846400"/>
            <ac:spMk id="5" creationId="{73EDB022-E7F0-BF1B-16F2-320F277AA1C1}"/>
          </ac:spMkLst>
        </pc:spChg>
        <pc:spChg chg="mod">
          <ac:chgData name="Md Fahim Hasan" userId="S::mdfahim.hasan@bayer.com::92968fce-d4dd-4b9e-8635-66a07c9f98a7" providerId="AD" clId="Web-{C8C39F1F-632B-2C66-3756-C1AF0FCACA42}" dt="2023-07-28T21:07:53.737" v="1053" actId="1076"/>
          <ac:spMkLst>
            <pc:docMk/>
            <pc:sldMk cId="3321549302" sldId="2146846400"/>
            <ac:spMk id="6" creationId="{A46D0C84-66EB-F51F-FE84-7D1A99507361}"/>
          </ac:spMkLst>
        </pc:spChg>
        <pc:spChg chg="mod">
          <ac:chgData name="Md Fahim Hasan" userId="S::mdfahim.hasan@bayer.com::92968fce-d4dd-4b9e-8635-66a07c9f98a7" providerId="AD" clId="Web-{C8C39F1F-632B-2C66-3756-C1AF0FCACA42}" dt="2023-07-28T21:07:40.518" v="1050" actId="20577"/>
          <ac:spMkLst>
            <pc:docMk/>
            <pc:sldMk cId="3321549302" sldId="2146846400"/>
            <ac:spMk id="9" creationId="{DCE765C9-F866-A10C-05BC-B0F5CF7D4FA9}"/>
          </ac:spMkLst>
        </pc:spChg>
        <pc:spChg chg="mod">
          <ac:chgData name="Md Fahim Hasan" userId="S::mdfahim.hasan@bayer.com::92968fce-d4dd-4b9e-8635-66a07c9f98a7" providerId="AD" clId="Web-{C8C39F1F-632B-2C66-3756-C1AF0FCACA42}" dt="2023-07-28T21:08:03.503" v="1059" actId="20577"/>
          <ac:spMkLst>
            <pc:docMk/>
            <pc:sldMk cId="3321549302" sldId="2146846400"/>
            <ac:spMk id="11" creationId="{36E05499-4C8A-15E8-0646-ADD534019E9F}"/>
          </ac:spMkLst>
        </pc:spChg>
        <pc:spChg chg="mod">
          <ac:chgData name="Md Fahim Hasan" userId="S::mdfahim.hasan@bayer.com::92968fce-d4dd-4b9e-8635-66a07c9f98a7" providerId="AD" clId="Web-{C8C39F1F-632B-2C66-3756-C1AF0FCACA42}" dt="2023-07-28T21:07:53.753" v="1055" actId="1076"/>
          <ac:spMkLst>
            <pc:docMk/>
            <pc:sldMk cId="3321549302" sldId="2146846400"/>
            <ac:spMk id="12" creationId="{1C873AA9-C6B7-789B-ADC9-4470D44A69F7}"/>
          </ac:spMkLst>
        </pc:spChg>
        <pc:spChg chg="mod">
          <ac:chgData name="Md Fahim Hasan" userId="S::mdfahim.hasan@bayer.com::92968fce-d4dd-4b9e-8635-66a07c9f98a7" providerId="AD" clId="Web-{C8C39F1F-632B-2C66-3756-C1AF0FCACA42}" dt="2023-07-28T21:07:58.956" v="1058" actId="20577"/>
          <ac:spMkLst>
            <pc:docMk/>
            <pc:sldMk cId="3321549302" sldId="2146846400"/>
            <ac:spMk id="13" creationId="{509B8E1A-BC5A-E524-8FE0-8FF1D3788A20}"/>
          </ac:spMkLst>
        </pc:spChg>
        <pc:spChg chg="mod">
          <ac:chgData name="Md Fahim Hasan" userId="S::mdfahim.hasan@bayer.com::92968fce-d4dd-4b9e-8635-66a07c9f98a7" providerId="AD" clId="Web-{C8C39F1F-632B-2C66-3756-C1AF0FCACA42}" dt="2023-07-28T21:07:53.769" v="1057" actId="1076"/>
          <ac:spMkLst>
            <pc:docMk/>
            <pc:sldMk cId="3321549302" sldId="2146846400"/>
            <ac:spMk id="14" creationId="{04F280DF-BB48-313E-469D-0D1472F053FB}"/>
          </ac:spMkLst>
        </pc:spChg>
        <pc:picChg chg="mod">
          <ac:chgData name="Md Fahim Hasan" userId="S::mdfahim.hasan@bayer.com::92968fce-d4dd-4b9e-8635-66a07c9f98a7" providerId="AD" clId="Web-{C8C39F1F-632B-2C66-3756-C1AF0FCACA42}" dt="2023-07-28T21:07:53.722" v="1051" actId="1076"/>
          <ac:picMkLst>
            <pc:docMk/>
            <pc:sldMk cId="3321549302" sldId="2146846400"/>
            <ac:picMk id="3" creationId="{16BBEA49-B7C7-2619-44DA-70CDEE7990C0}"/>
          </ac:picMkLst>
        </pc:picChg>
      </pc:sldChg>
      <pc:sldChg chg="modSp">
        <pc:chgData name="Md Fahim Hasan" userId="S::mdfahim.hasan@bayer.com::92968fce-d4dd-4b9e-8635-66a07c9f98a7" providerId="AD" clId="Web-{C8C39F1F-632B-2C66-3756-C1AF0FCACA42}" dt="2023-07-28T22:00:56.858" v="1798" actId="20577"/>
        <pc:sldMkLst>
          <pc:docMk/>
          <pc:sldMk cId="3126584536" sldId="2146846401"/>
        </pc:sldMkLst>
        <pc:spChg chg="mod">
          <ac:chgData name="Md Fahim Hasan" userId="S::mdfahim.hasan@bayer.com::92968fce-d4dd-4b9e-8635-66a07c9f98a7" providerId="AD" clId="Web-{C8C39F1F-632B-2C66-3756-C1AF0FCACA42}" dt="2023-07-28T22:00:56.858" v="1798" actId="20577"/>
          <ac:spMkLst>
            <pc:docMk/>
            <pc:sldMk cId="3126584536" sldId="2146846401"/>
            <ac:spMk id="9" creationId="{DCE765C9-F866-A10C-05BC-B0F5CF7D4FA9}"/>
          </ac:spMkLst>
        </pc:spChg>
      </pc:sldChg>
      <pc:sldChg chg="modSp">
        <pc:chgData name="Md Fahim Hasan" userId="S::mdfahim.hasan@bayer.com::92968fce-d4dd-4b9e-8635-66a07c9f98a7" providerId="AD" clId="Web-{C8C39F1F-632B-2C66-3756-C1AF0FCACA42}" dt="2023-07-28T21:26:18.289" v="1167" actId="20577"/>
        <pc:sldMkLst>
          <pc:docMk/>
          <pc:sldMk cId="4158318354" sldId="2146846405"/>
        </pc:sldMkLst>
        <pc:spChg chg="mod">
          <ac:chgData name="Md Fahim Hasan" userId="S::mdfahim.hasan@bayer.com::92968fce-d4dd-4b9e-8635-66a07c9f98a7" providerId="AD" clId="Web-{C8C39F1F-632B-2C66-3756-C1AF0FCACA42}" dt="2023-07-28T21:26:06.304" v="1157"/>
          <ac:spMkLst>
            <pc:docMk/>
            <pc:sldMk cId="4158318354" sldId="2146846405"/>
            <ac:spMk id="2" creationId="{5CA4440B-028E-4F88-3186-F24679B2C4C9}"/>
          </ac:spMkLst>
        </pc:spChg>
        <pc:spChg chg="mod">
          <ac:chgData name="Md Fahim Hasan" userId="S::mdfahim.hasan@bayer.com::92968fce-d4dd-4b9e-8635-66a07c9f98a7" providerId="AD" clId="Web-{C8C39F1F-632B-2C66-3756-C1AF0FCACA42}" dt="2023-07-28T21:25:48.882" v="1147" actId="20577"/>
          <ac:spMkLst>
            <pc:docMk/>
            <pc:sldMk cId="4158318354" sldId="2146846405"/>
            <ac:spMk id="3" creationId="{00F22E15-01EE-FF64-1C18-383243B491A9}"/>
          </ac:spMkLst>
        </pc:spChg>
        <pc:spChg chg="mod">
          <ac:chgData name="Md Fahim Hasan" userId="S::mdfahim.hasan@bayer.com::92968fce-d4dd-4b9e-8635-66a07c9f98a7" providerId="AD" clId="Web-{C8C39F1F-632B-2C66-3756-C1AF0FCACA42}" dt="2023-07-28T21:26:06.320" v="1158"/>
          <ac:spMkLst>
            <pc:docMk/>
            <pc:sldMk cId="4158318354" sldId="2146846405"/>
            <ac:spMk id="4" creationId="{9BBBEEA8-01ED-B542-9A63-9A69DC65E6BA}"/>
          </ac:spMkLst>
        </pc:spChg>
        <pc:spChg chg="mod">
          <ac:chgData name="Md Fahim Hasan" userId="S::mdfahim.hasan@bayer.com::92968fce-d4dd-4b9e-8635-66a07c9f98a7" providerId="AD" clId="Web-{C8C39F1F-632B-2C66-3756-C1AF0FCACA42}" dt="2023-07-28T21:26:06.336" v="1159"/>
          <ac:spMkLst>
            <pc:docMk/>
            <pc:sldMk cId="4158318354" sldId="2146846405"/>
            <ac:spMk id="5" creationId="{FBF989BE-2FC9-C908-243D-DA2D7ECAB17C}"/>
          </ac:spMkLst>
        </pc:spChg>
        <pc:spChg chg="mod">
          <ac:chgData name="Md Fahim Hasan" userId="S::mdfahim.hasan@bayer.com::92968fce-d4dd-4b9e-8635-66a07c9f98a7" providerId="AD" clId="Web-{C8C39F1F-632B-2C66-3756-C1AF0FCACA42}" dt="2023-07-28T21:26:06.351" v="1160"/>
          <ac:spMkLst>
            <pc:docMk/>
            <pc:sldMk cId="4158318354" sldId="2146846405"/>
            <ac:spMk id="6" creationId="{E9090D9C-F1FA-CA30-D8D9-B93C832FDBD4}"/>
          </ac:spMkLst>
        </pc:spChg>
        <pc:spChg chg="mod">
          <ac:chgData name="Md Fahim Hasan" userId="S::mdfahim.hasan@bayer.com::92968fce-d4dd-4b9e-8635-66a07c9f98a7" providerId="AD" clId="Web-{C8C39F1F-632B-2C66-3756-C1AF0FCACA42}" dt="2023-07-28T21:26:06.367" v="1161"/>
          <ac:spMkLst>
            <pc:docMk/>
            <pc:sldMk cId="4158318354" sldId="2146846405"/>
            <ac:spMk id="8" creationId="{130E9D39-7572-D5EE-8C78-7FDFC7B77798}"/>
          </ac:spMkLst>
        </pc:spChg>
        <pc:spChg chg="mod">
          <ac:chgData name="Md Fahim Hasan" userId="S::mdfahim.hasan@bayer.com::92968fce-d4dd-4b9e-8635-66a07c9f98a7" providerId="AD" clId="Web-{C8C39F1F-632B-2C66-3756-C1AF0FCACA42}" dt="2023-07-28T21:25:56.742" v="1156" actId="20577"/>
          <ac:spMkLst>
            <pc:docMk/>
            <pc:sldMk cId="4158318354" sldId="2146846405"/>
            <ac:spMk id="9" creationId="{DCE765C9-F866-A10C-05BC-B0F5CF7D4FA9}"/>
          </ac:spMkLst>
        </pc:spChg>
        <pc:spChg chg="mod">
          <ac:chgData name="Md Fahim Hasan" userId="S::mdfahim.hasan@bayer.com::92968fce-d4dd-4b9e-8635-66a07c9f98a7" providerId="AD" clId="Web-{C8C39F1F-632B-2C66-3756-C1AF0FCACA42}" dt="2023-07-28T21:26:06.383" v="1162"/>
          <ac:spMkLst>
            <pc:docMk/>
            <pc:sldMk cId="4158318354" sldId="2146846405"/>
            <ac:spMk id="11" creationId="{DF0F00DF-0893-8866-FE70-C4DEA8AA9BAF}"/>
          </ac:spMkLst>
        </pc:spChg>
        <pc:spChg chg="mod">
          <ac:chgData name="Md Fahim Hasan" userId="S::mdfahim.hasan@bayer.com::92968fce-d4dd-4b9e-8635-66a07c9f98a7" providerId="AD" clId="Web-{C8C39F1F-632B-2C66-3756-C1AF0FCACA42}" dt="2023-07-28T21:26:06.398" v="1163"/>
          <ac:spMkLst>
            <pc:docMk/>
            <pc:sldMk cId="4158318354" sldId="2146846405"/>
            <ac:spMk id="12" creationId="{3D9AEB3F-97A4-58D7-EBA2-A315915EA8D1}"/>
          </ac:spMkLst>
        </pc:spChg>
        <pc:spChg chg="mod">
          <ac:chgData name="Md Fahim Hasan" userId="S::mdfahim.hasan@bayer.com::92968fce-d4dd-4b9e-8635-66a07c9f98a7" providerId="AD" clId="Web-{C8C39F1F-632B-2C66-3756-C1AF0FCACA42}" dt="2023-07-28T21:26:06.414" v="1164"/>
          <ac:spMkLst>
            <pc:docMk/>
            <pc:sldMk cId="4158318354" sldId="2146846405"/>
            <ac:spMk id="22" creationId="{84A884FF-D6E8-DB6E-BE2D-CD78B2329537}"/>
          </ac:spMkLst>
        </pc:spChg>
        <pc:spChg chg="mod">
          <ac:chgData name="Md Fahim Hasan" userId="S::mdfahim.hasan@bayer.com::92968fce-d4dd-4b9e-8635-66a07c9f98a7" providerId="AD" clId="Web-{C8C39F1F-632B-2C66-3756-C1AF0FCACA42}" dt="2023-07-28T21:26:06.429" v="1165"/>
          <ac:spMkLst>
            <pc:docMk/>
            <pc:sldMk cId="4158318354" sldId="2146846405"/>
            <ac:spMk id="28" creationId="{F8CA0F20-230F-4570-700C-FA2F2B52DCF4}"/>
          </ac:spMkLst>
        </pc:spChg>
        <pc:spChg chg="mod">
          <ac:chgData name="Md Fahim Hasan" userId="S::mdfahim.hasan@bayer.com::92968fce-d4dd-4b9e-8635-66a07c9f98a7" providerId="AD" clId="Web-{C8C39F1F-632B-2C66-3756-C1AF0FCACA42}" dt="2023-07-28T21:26:18.289" v="1167" actId="20577"/>
          <ac:spMkLst>
            <pc:docMk/>
            <pc:sldMk cId="4158318354" sldId="2146846405"/>
            <ac:spMk id="29" creationId="{45C99936-BD6F-80BE-E422-684ACF5B6162}"/>
          </ac:spMkLst>
        </pc:spChg>
        <pc:cxnChg chg="mod">
          <ac:chgData name="Md Fahim Hasan" userId="S::mdfahim.hasan@bayer.com::92968fce-d4dd-4b9e-8635-66a07c9f98a7" providerId="AD" clId="Web-{C8C39F1F-632B-2C66-3756-C1AF0FCACA42}" dt="2023-07-28T21:26:18.289" v="1167" actId="20577"/>
          <ac:cxnSpMkLst>
            <pc:docMk/>
            <pc:sldMk cId="4158318354" sldId="2146846405"/>
            <ac:cxnSpMk id="34" creationId="{08419CF4-CBAD-281D-882F-893CEFAF773B}"/>
          </ac:cxnSpMkLst>
        </pc:cxnChg>
      </pc:sldChg>
      <pc:sldChg chg="addSp delSp modSp addCm">
        <pc:chgData name="Md Fahim Hasan" userId="S::mdfahim.hasan@bayer.com::92968fce-d4dd-4b9e-8635-66a07c9f98a7" providerId="AD" clId="Web-{C8C39F1F-632B-2C66-3756-C1AF0FCACA42}" dt="2023-07-28T21:32:34.921" v="1216" actId="20577"/>
        <pc:sldMkLst>
          <pc:docMk/>
          <pc:sldMk cId="3999969760" sldId="2146846407"/>
        </pc:sldMkLst>
        <pc:spChg chg="mod">
          <ac:chgData name="Md Fahim Hasan" userId="S::mdfahim.hasan@bayer.com::92968fce-d4dd-4b9e-8635-66a07c9f98a7" providerId="AD" clId="Web-{C8C39F1F-632B-2C66-3756-C1AF0FCACA42}" dt="2023-07-28T21:31:38.529" v="1195" actId="20577"/>
          <ac:spMkLst>
            <pc:docMk/>
            <pc:sldMk cId="3999969760" sldId="2146846407"/>
            <ac:spMk id="2" creationId="{3DAF1FF6-83BD-CD3F-ACA9-3847A49D49C3}"/>
          </ac:spMkLst>
        </pc:spChg>
        <pc:spChg chg="mod">
          <ac:chgData name="Md Fahim Hasan" userId="S::mdfahim.hasan@bayer.com::92968fce-d4dd-4b9e-8635-66a07c9f98a7" providerId="AD" clId="Web-{C8C39F1F-632B-2C66-3756-C1AF0FCACA42}" dt="2023-07-28T21:32:34.921" v="1216" actId="20577"/>
          <ac:spMkLst>
            <pc:docMk/>
            <pc:sldMk cId="3999969760" sldId="2146846407"/>
            <ac:spMk id="3" creationId="{A9B6433A-3584-BD51-F3B5-89DCB9E2F96D}"/>
          </ac:spMkLst>
        </pc:spChg>
        <pc:spChg chg="add del">
          <ac:chgData name="Md Fahim Hasan" userId="S::mdfahim.hasan@bayer.com::92968fce-d4dd-4b9e-8635-66a07c9f98a7" providerId="AD" clId="Web-{C8C39F1F-632B-2C66-3756-C1AF0FCACA42}" dt="2023-07-28T21:28:55.651" v="1169"/>
          <ac:spMkLst>
            <pc:docMk/>
            <pc:sldMk cId="3999969760" sldId="2146846407"/>
            <ac:spMk id="4" creationId="{44B772E5-8A98-EABB-8487-F65BBE3A396A}"/>
          </ac:spMkLst>
        </pc:spChg>
        <pc:spChg chg="mod">
          <ac:chgData name="Md Fahim Hasan" userId="S::mdfahim.hasan@bayer.com::92968fce-d4dd-4b9e-8635-66a07c9f98a7" providerId="AD" clId="Web-{C8C39F1F-632B-2C66-3756-C1AF0FCACA42}" dt="2023-07-28T21:31:59.202" v="1209" actId="1076"/>
          <ac:spMkLst>
            <pc:docMk/>
            <pc:sldMk cId="3999969760" sldId="2146846407"/>
            <ac:spMk id="5" creationId="{54743D17-A5AC-78AC-4269-DC8CCBE26C14}"/>
          </ac:spMkLst>
        </pc:spChg>
        <pc:spChg chg="mod">
          <ac:chgData name="Md Fahim Hasan" userId="S::mdfahim.hasan@bayer.com::92968fce-d4dd-4b9e-8635-66a07c9f98a7" providerId="AD" clId="Web-{C8C39F1F-632B-2C66-3756-C1AF0FCACA42}" dt="2023-07-28T21:32:26.249" v="1214" actId="20577"/>
          <ac:spMkLst>
            <pc:docMk/>
            <pc:sldMk cId="3999969760" sldId="2146846407"/>
            <ac:spMk id="6" creationId="{26A6E82C-D720-1EE2-53BC-CEC07024E9CA}"/>
          </ac:spMkLst>
        </pc:spChg>
        <pc:spChg chg="mod">
          <ac:chgData name="Md Fahim Hasan" userId="S::mdfahim.hasan@bayer.com::92968fce-d4dd-4b9e-8635-66a07c9f98a7" providerId="AD" clId="Web-{C8C39F1F-632B-2C66-3756-C1AF0FCACA42}" dt="2023-07-28T21:32:07.264" v="1213" actId="20577"/>
          <ac:spMkLst>
            <pc:docMk/>
            <pc:sldMk cId="3999969760" sldId="2146846407"/>
            <ac:spMk id="7" creationId="{75F947B2-123B-E347-59AC-F0AB539999A7}"/>
          </ac:spMkLst>
        </pc:spChg>
        <pc:spChg chg="add del mod">
          <ac:chgData name="Md Fahim Hasan" userId="S::mdfahim.hasan@bayer.com::92968fce-d4dd-4b9e-8635-66a07c9f98a7" providerId="AD" clId="Web-{C8C39F1F-632B-2C66-3756-C1AF0FCACA42}" dt="2023-07-28T21:30:52.216" v="1189"/>
          <ac:spMkLst>
            <pc:docMk/>
            <pc:sldMk cId="3999969760" sldId="2146846407"/>
            <ac:spMk id="8" creationId="{DCFF98B2-022E-A512-F84C-E117E60A8B96}"/>
          </ac:spMkLst>
        </pc:spChg>
        <pc:spChg chg="mod">
          <ac:chgData name="Md Fahim Hasan" userId="S::mdfahim.hasan@bayer.com::92968fce-d4dd-4b9e-8635-66a07c9f98a7" providerId="AD" clId="Web-{C8C39F1F-632B-2C66-3756-C1AF0FCACA42}" dt="2023-07-28T21:31:50.826" v="1206" actId="20577"/>
          <ac:spMkLst>
            <pc:docMk/>
            <pc:sldMk cId="3999969760" sldId="2146846407"/>
            <ac:spMk id="9" creationId="{DCE765C9-F866-A10C-05BC-B0F5CF7D4FA9}"/>
          </ac:spMkLst>
        </pc:spChg>
        <pc:spChg chg="add del mod">
          <ac:chgData name="Md Fahim Hasan" userId="S::mdfahim.hasan@bayer.com::92968fce-d4dd-4b9e-8635-66a07c9f98a7" providerId="AD" clId="Web-{C8C39F1F-632B-2C66-3756-C1AF0FCACA42}" dt="2023-07-28T21:30:49.607" v="1188"/>
          <ac:spMkLst>
            <pc:docMk/>
            <pc:sldMk cId="3999969760" sldId="2146846407"/>
            <ac:spMk id="10" creationId="{7CD996EE-F8B9-34C5-D499-BB4CEC704462}"/>
          </ac:spMkLst>
        </pc:spChg>
        <pc:spChg chg="add del mod">
          <ac:chgData name="Md Fahim Hasan" userId="S::mdfahim.hasan@bayer.com::92968fce-d4dd-4b9e-8635-66a07c9f98a7" providerId="AD" clId="Web-{C8C39F1F-632B-2C66-3756-C1AF0FCACA42}" dt="2023-07-28T21:30:48.794" v="1187"/>
          <ac:spMkLst>
            <pc:docMk/>
            <pc:sldMk cId="3999969760" sldId="2146846407"/>
            <ac:spMk id="11" creationId="{A2D4F028-0108-414D-11BB-772020593391}"/>
          </ac:spMkLst>
        </pc:spChg>
        <pc:picChg chg="mod">
          <ac:chgData name="Md Fahim Hasan" userId="S::mdfahim.hasan@bayer.com::92968fce-d4dd-4b9e-8635-66a07c9f98a7" providerId="AD" clId="Web-{C8C39F1F-632B-2C66-3756-C1AF0FCACA42}" dt="2023-07-28T21:31:59.155" v="1207" actId="1076"/>
          <ac:picMkLst>
            <pc:docMk/>
            <pc:sldMk cId="3999969760" sldId="2146846407"/>
            <ac:picMk id="1026" creationId="{EFAF2E77-8CEC-C19A-2F55-F19157E9D271}"/>
          </ac:picMkLst>
        </pc:picChg>
        <pc:picChg chg="mod">
          <ac:chgData name="Md Fahim Hasan" userId="S::mdfahim.hasan@bayer.com::92968fce-d4dd-4b9e-8635-66a07c9f98a7" providerId="AD" clId="Web-{C8C39F1F-632B-2C66-3756-C1AF0FCACA42}" dt="2023-07-28T21:31:59.202" v="1208" actId="1076"/>
          <ac:picMkLst>
            <pc:docMk/>
            <pc:sldMk cId="3999969760" sldId="2146846407"/>
            <ac:picMk id="1028" creationId="{FA4DE5DB-293A-BB1F-C2A6-80419B433D04}"/>
          </ac:picMkLst>
        </pc:picChg>
      </pc:sldChg>
      <pc:sldChg chg="modSp delAnim">
        <pc:chgData name="Md Fahim Hasan" userId="S::mdfahim.hasan@bayer.com::92968fce-d4dd-4b9e-8635-66a07c9f98a7" providerId="AD" clId="Web-{C8C39F1F-632B-2C66-3756-C1AF0FCACA42}" dt="2023-07-28T21:54:10.882" v="1715"/>
        <pc:sldMkLst>
          <pc:docMk/>
          <pc:sldMk cId="2055594962" sldId="2146846408"/>
        </pc:sldMkLst>
        <pc:spChg chg="mod">
          <ac:chgData name="Md Fahim Hasan" userId="S::mdfahim.hasan@bayer.com::92968fce-d4dd-4b9e-8635-66a07c9f98a7" providerId="AD" clId="Web-{C8C39F1F-632B-2C66-3756-C1AF0FCACA42}" dt="2023-07-28T20:12:16.533" v="54" actId="20577"/>
          <ac:spMkLst>
            <pc:docMk/>
            <pc:sldMk cId="2055594962" sldId="2146846408"/>
            <ac:spMk id="3" creationId="{CD848677-760A-76BD-3CD9-CFD89965D462}"/>
          </ac:spMkLst>
        </pc:spChg>
        <pc:spChg chg="mod">
          <ac:chgData name="Md Fahim Hasan" userId="S::mdfahim.hasan@bayer.com::92968fce-d4dd-4b9e-8635-66a07c9f98a7" providerId="AD" clId="Web-{C8C39F1F-632B-2C66-3756-C1AF0FCACA42}" dt="2023-07-28T20:12:16.517" v="53" actId="20577"/>
          <ac:spMkLst>
            <pc:docMk/>
            <pc:sldMk cId="2055594962" sldId="2146846408"/>
            <ac:spMk id="9" creationId="{DCE765C9-F866-A10C-05BC-B0F5CF7D4FA9}"/>
          </ac:spMkLst>
        </pc:spChg>
        <pc:spChg chg="mod">
          <ac:chgData name="Md Fahim Hasan" userId="S::mdfahim.hasan@bayer.com::92968fce-d4dd-4b9e-8635-66a07c9f98a7" providerId="AD" clId="Web-{C8C39F1F-632B-2C66-3756-C1AF0FCACA42}" dt="2023-07-28T20:14:22.644" v="69" actId="1076"/>
          <ac:spMkLst>
            <pc:docMk/>
            <pc:sldMk cId="2055594962" sldId="2146846408"/>
            <ac:spMk id="16" creationId="{1B10CDD7-504B-1C05-A4E1-1590360071E2}"/>
          </ac:spMkLst>
        </pc:spChg>
        <pc:spChg chg="mod">
          <ac:chgData name="Md Fahim Hasan" userId="S::mdfahim.hasan@bayer.com::92968fce-d4dd-4b9e-8635-66a07c9f98a7" providerId="AD" clId="Web-{C8C39F1F-632B-2C66-3756-C1AF0FCACA42}" dt="2023-07-28T20:12:16.736" v="57" actId="20577"/>
          <ac:spMkLst>
            <pc:docMk/>
            <pc:sldMk cId="2055594962" sldId="2146846408"/>
            <ac:spMk id="27" creationId="{3D06C40A-A0F5-6376-063E-518E3CA29771}"/>
          </ac:spMkLst>
        </pc:spChg>
        <pc:spChg chg="mod">
          <ac:chgData name="Md Fahim Hasan" userId="S::mdfahim.hasan@bayer.com::92968fce-d4dd-4b9e-8635-66a07c9f98a7" providerId="AD" clId="Web-{C8C39F1F-632B-2C66-3756-C1AF0FCACA42}" dt="2023-07-28T20:12:16.767" v="58" actId="20577"/>
          <ac:spMkLst>
            <pc:docMk/>
            <pc:sldMk cId="2055594962" sldId="2146846408"/>
            <ac:spMk id="28" creationId="{3481FD7F-0A3C-C3F2-E212-06D782EF337B}"/>
          </ac:spMkLst>
        </pc:spChg>
        <pc:spChg chg="mod">
          <ac:chgData name="Md Fahim Hasan" userId="S::mdfahim.hasan@bayer.com::92968fce-d4dd-4b9e-8635-66a07c9f98a7" providerId="AD" clId="Web-{C8C39F1F-632B-2C66-3756-C1AF0FCACA42}" dt="2023-07-28T20:12:16.798" v="59" actId="20577"/>
          <ac:spMkLst>
            <pc:docMk/>
            <pc:sldMk cId="2055594962" sldId="2146846408"/>
            <ac:spMk id="29" creationId="{F11D93C6-7A0E-5736-A537-81CF1CD2CEF1}"/>
          </ac:spMkLst>
        </pc:spChg>
        <pc:spChg chg="mod">
          <ac:chgData name="Md Fahim Hasan" userId="S::mdfahim.hasan@bayer.com::92968fce-d4dd-4b9e-8635-66a07c9f98a7" providerId="AD" clId="Web-{C8C39F1F-632B-2C66-3756-C1AF0FCACA42}" dt="2023-07-28T20:12:16.486" v="52" actId="20577"/>
          <ac:spMkLst>
            <pc:docMk/>
            <pc:sldMk cId="2055594962" sldId="2146846408"/>
            <ac:spMk id="55" creationId="{E5C7310A-3226-177F-2301-3DE6D935F21A}"/>
          </ac:spMkLst>
        </pc:spChg>
        <pc:spChg chg="mod">
          <ac:chgData name="Md Fahim Hasan" userId="S::mdfahim.hasan@bayer.com::92968fce-d4dd-4b9e-8635-66a07c9f98a7" providerId="AD" clId="Web-{C8C39F1F-632B-2C66-3756-C1AF0FCACA42}" dt="2023-07-28T20:12:16.454" v="51" actId="20577"/>
          <ac:spMkLst>
            <pc:docMk/>
            <pc:sldMk cId="2055594962" sldId="2146846408"/>
            <ac:spMk id="76" creationId="{92C4EE77-FE88-166F-8FBC-34CBAAD6B816}"/>
          </ac:spMkLst>
        </pc:spChg>
        <pc:graphicFrameChg chg="mod modGraphic">
          <ac:chgData name="Md Fahim Hasan" userId="S::mdfahim.hasan@bayer.com::92968fce-d4dd-4b9e-8635-66a07c9f98a7" providerId="AD" clId="Web-{C8C39F1F-632B-2C66-3756-C1AF0FCACA42}" dt="2023-07-28T20:15:23.254" v="80" actId="20577"/>
          <ac:graphicFrameMkLst>
            <pc:docMk/>
            <pc:sldMk cId="2055594962" sldId="2146846408"/>
            <ac:graphicFrameMk id="12" creationId="{ADEE726F-7E49-178D-0C5B-D383F77FC99D}"/>
          </ac:graphicFrameMkLst>
        </pc:graphicFrameChg>
      </pc:sldChg>
      <pc:sldChg chg="modSp">
        <pc:chgData name="Md Fahim Hasan" userId="S::mdfahim.hasan@bayer.com::92968fce-d4dd-4b9e-8635-66a07c9f98a7" providerId="AD" clId="Web-{C8C39F1F-632B-2C66-3756-C1AF0FCACA42}" dt="2023-07-28T21:52:59.646" v="1708" actId="1076"/>
        <pc:sldMkLst>
          <pc:docMk/>
          <pc:sldMk cId="1968008277" sldId="2146846410"/>
        </pc:sldMkLst>
        <pc:spChg chg="mod">
          <ac:chgData name="Md Fahim Hasan" userId="S::mdfahim.hasan@bayer.com::92968fce-d4dd-4b9e-8635-66a07c9f98a7" providerId="AD" clId="Web-{C8C39F1F-632B-2C66-3756-C1AF0FCACA42}" dt="2023-07-28T21:52:36.536" v="1705" actId="1076"/>
          <ac:spMkLst>
            <pc:docMk/>
            <pc:sldMk cId="1968008277" sldId="2146846410"/>
            <ac:spMk id="7" creationId="{CD5ED03A-3B9D-9120-10C9-16CF3D860C61}"/>
          </ac:spMkLst>
        </pc:spChg>
        <pc:spChg chg="mod">
          <ac:chgData name="Md Fahim Hasan" userId="S::mdfahim.hasan@bayer.com::92968fce-d4dd-4b9e-8635-66a07c9f98a7" providerId="AD" clId="Web-{C8C39F1F-632B-2C66-3756-C1AF0FCACA42}" dt="2023-07-28T21:52:32.849" v="1704" actId="1076"/>
          <ac:spMkLst>
            <pc:docMk/>
            <pc:sldMk cId="1968008277" sldId="2146846410"/>
            <ac:spMk id="9" creationId="{DCE765C9-F866-A10C-05BC-B0F5CF7D4FA9}"/>
          </ac:spMkLst>
        </pc:spChg>
        <pc:spChg chg="mod">
          <ac:chgData name="Md Fahim Hasan" userId="S::mdfahim.hasan@bayer.com::92968fce-d4dd-4b9e-8635-66a07c9f98a7" providerId="AD" clId="Web-{C8C39F1F-632B-2C66-3756-C1AF0FCACA42}" dt="2023-07-28T21:51:16.691" v="1693" actId="20577"/>
          <ac:spMkLst>
            <pc:docMk/>
            <pc:sldMk cId="1968008277" sldId="2146846410"/>
            <ac:spMk id="12" creationId="{CA054FAF-ADBE-038A-975C-DE37BB0A3D5F}"/>
          </ac:spMkLst>
        </pc:spChg>
        <pc:spChg chg="mod">
          <ac:chgData name="Md Fahim Hasan" userId="S::mdfahim.hasan@bayer.com::92968fce-d4dd-4b9e-8635-66a07c9f98a7" providerId="AD" clId="Web-{C8C39F1F-632B-2C66-3756-C1AF0FCACA42}" dt="2023-07-28T21:52:59.646" v="1708" actId="1076"/>
          <ac:spMkLst>
            <pc:docMk/>
            <pc:sldMk cId="1968008277" sldId="2146846410"/>
            <ac:spMk id="13" creationId="{24CB8F9A-8CB9-451B-64A8-F41B39D37A3B}"/>
          </ac:spMkLst>
        </pc:spChg>
      </pc:sldChg>
      <pc:sldChg chg="modSp">
        <pc:chgData name="Md Fahim Hasan" userId="S::mdfahim.hasan@bayer.com::92968fce-d4dd-4b9e-8635-66a07c9f98a7" providerId="AD" clId="Web-{C8C39F1F-632B-2C66-3756-C1AF0FCACA42}" dt="2023-07-28T21:53:24.006" v="1714" actId="1076"/>
        <pc:sldMkLst>
          <pc:docMk/>
          <pc:sldMk cId="2340966377" sldId="2146846411"/>
        </pc:sldMkLst>
        <pc:spChg chg="mod">
          <ac:chgData name="Md Fahim Hasan" userId="S::mdfahim.hasan@bayer.com::92968fce-d4dd-4b9e-8635-66a07c9f98a7" providerId="AD" clId="Web-{C8C39F1F-632B-2C66-3756-C1AF0FCACA42}" dt="2023-07-28T21:53:24.006" v="1714" actId="1076"/>
          <ac:spMkLst>
            <pc:docMk/>
            <pc:sldMk cId="2340966377" sldId="2146846411"/>
            <ac:spMk id="2" creationId="{3686BA84-DCD5-9E45-57C1-47E4B920DEDD}"/>
          </ac:spMkLst>
        </pc:spChg>
      </pc:sldChg>
      <pc:sldChg chg="modSp">
        <pc:chgData name="Md Fahim Hasan" userId="S::mdfahim.hasan@bayer.com::92968fce-d4dd-4b9e-8635-66a07c9f98a7" providerId="AD" clId="Web-{C8C39F1F-632B-2C66-3756-C1AF0FCACA42}" dt="2023-07-28T21:51:33.316" v="1701" actId="1076"/>
        <pc:sldMkLst>
          <pc:docMk/>
          <pc:sldMk cId="1983412115" sldId="2146846412"/>
        </pc:sldMkLst>
        <pc:spChg chg="mod">
          <ac:chgData name="Md Fahim Hasan" userId="S::mdfahim.hasan@bayer.com::92968fce-d4dd-4b9e-8635-66a07c9f98a7" providerId="AD" clId="Web-{C8C39F1F-632B-2C66-3756-C1AF0FCACA42}" dt="2023-07-28T21:51:30.269" v="1700" actId="1076"/>
          <ac:spMkLst>
            <pc:docMk/>
            <pc:sldMk cId="1983412115" sldId="2146846412"/>
            <ac:spMk id="2" creationId="{90C96AA1-6C12-6623-0754-4E4DD20BEE5B}"/>
          </ac:spMkLst>
        </pc:spChg>
        <pc:spChg chg="mod">
          <ac:chgData name="Md Fahim Hasan" userId="S::mdfahim.hasan@bayer.com::92968fce-d4dd-4b9e-8635-66a07c9f98a7" providerId="AD" clId="Web-{C8C39F1F-632B-2C66-3756-C1AF0FCACA42}" dt="2023-07-28T21:37:38.255" v="1248" actId="20577"/>
          <ac:spMkLst>
            <pc:docMk/>
            <pc:sldMk cId="1983412115" sldId="2146846412"/>
            <ac:spMk id="3" creationId="{7B6B92E1-2AB9-FE4E-E2F4-AE076BC2F1C6}"/>
          </ac:spMkLst>
        </pc:spChg>
        <pc:spChg chg="mod">
          <ac:chgData name="Md Fahim Hasan" userId="S::mdfahim.hasan@bayer.com::92968fce-d4dd-4b9e-8635-66a07c9f98a7" providerId="AD" clId="Web-{C8C39F1F-632B-2C66-3756-C1AF0FCACA42}" dt="2023-07-28T21:51:33.316" v="1701" actId="1076"/>
          <ac:spMkLst>
            <pc:docMk/>
            <pc:sldMk cId="1983412115" sldId="2146846412"/>
            <ac:spMk id="9" creationId="{DCE765C9-F866-A10C-05BC-B0F5CF7D4FA9}"/>
          </ac:spMkLst>
        </pc:spChg>
      </pc:sldChg>
      <pc:sldChg chg="modSp">
        <pc:chgData name="Md Fahim Hasan" userId="S::mdfahim.hasan@bayer.com::92968fce-d4dd-4b9e-8635-66a07c9f98a7" providerId="AD" clId="Web-{C8C39F1F-632B-2C66-3756-C1AF0FCACA42}" dt="2023-07-28T21:00:10.041" v="916" actId="1076"/>
        <pc:sldMkLst>
          <pc:docMk/>
          <pc:sldMk cId="2150827024" sldId="2146846414"/>
        </pc:sldMkLst>
        <pc:spChg chg="mod">
          <ac:chgData name="Md Fahim Hasan" userId="S::mdfahim.hasan@bayer.com::92968fce-d4dd-4b9e-8635-66a07c9f98a7" providerId="AD" clId="Web-{C8C39F1F-632B-2C66-3756-C1AF0FCACA42}" dt="2023-07-28T21:00:10.041" v="916" actId="1076"/>
          <ac:spMkLst>
            <pc:docMk/>
            <pc:sldMk cId="2150827024" sldId="2146846414"/>
            <ac:spMk id="9" creationId="{DCE765C9-F866-A10C-05BC-B0F5CF7D4FA9}"/>
          </ac:spMkLst>
        </pc:spChg>
      </pc:sldChg>
      <pc:sldChg chg="modSp">
        <pc:chgData name="Md Fahim Hasan" userId="S::mdfahim.hasan@bayer.com::92968fce-d4dd-4b9e-8635-66a07c9f98a7" providerId="AD" clId="Web-{C8C39F1F-632B-2C66-3756-C1AF0FCACA42}" dt="2023-07-28T21:00:15.948" v="917" actId="20577"/>
        <pc:sldMkLst>
          <pc:docMk/>
          <pc:sldMk cId="501913928" sldId="2146846415"/>
        </pc:sldMkLst>
        <pc:spChg chg="mod">
          <ac:chgData name="Md Fahim Hasan" userId="S::mdfahim.hasan@bayer.com::92968fce-d4dd-4b9e-8635-66a07c9f98a7" providerId="AD" clId="Web-{C8C39F1F-632B-2C66-3756-C1AF0FCACA42}" dt="2023-07-28T21:00:15.948" v="917" actId="20577"/>
          <ac:spMkLst>
            <pc:docMk/>
            <pc:sldMk cId="501913928" sldId="2146846415"/>
            <ac:spMk id="9" creationId="{DCE765C9-F866-A10C-05BC-B0F5CF7D4FA9}"/>
          </ac:spMkLst>
        </pc:spChg>
      </pc:sldChg>
      <pc:sldChg chg="modSp">
        <pc:chgData name="Md Fahim Hasan" userId="S::mdfahim.hasan@bayer.com::92968fce-d4dd-4b9e-8635-66a07c9f98a7" providerId="AD" clId="Web-{C8C39F1F-632B-2C66-3756-C1AF0FCACA42}" dt="2023-07-28T21:00:30.057" v="924" actId="1076"/>
        <pc:sldMkLst>
          <pc:docMk/>
          <pc:sldMk cId="3186043782" sldId="2146846416"/>
        </pc:sldMkLst>
        <pc:spChg chg="mod">
          <ac:chgData name="Md Fahim Hasan" userId="S::mdfahim.hasan@bayer.com::92968fce-d4dd-4b9e-8635-66a07c9f98a7" providerId="AD" clId="Web-{C8C39F1F-632B-2C66-3756-C1AF0FCACA42}" dt="2023-07-28T21:00:30.057" v="924" actId="1076"/>
          <ac:spMkLst>
            <pc:docMk/>
            <pc:sldMk cId="3186043782" sldId="2146846416"/>
            <ac:spMk id="9" creationId="{DCE765C9-F866-A10C-05BC-B0F5CF7D4FA9}"/>
          </ac:spMkLst>
        </pc:spChg>
      </pc:sldChg>
      <pc:sldChg chg="modSp delAnim modAnim">
        <pc:chgData name="Md Fahim Hasan" userId="S::mdfahim.hasan@bayer.com::92968fce-d4dd-4b9e-8635-66a07c9f98a7" providerId="AD" clId="Web-{C8C39F1F-632B-2C66-3756-C1AF0FCACA42}" dt="2023-07-28T21:55:57.665" v="1723" actId="14100"/>
        <pc:sldMkLst>
          <pc:docMk/>
          <pc:sldMk cId="3045417633" sldId="2146846418"/>
        </pc:sldMkLst>
        <pc:spChg chg="mod">
          <ac:chgData name="Md Fahim Hasan" userId="S::mdfahim.hasan@bayer.com::92968fce-d4dd-4b9e-8635-66a07c9f98a7" providerId="AD" clId="Web-{C8C39F1F-632B-2C66-3756-C1AF0FCACA42}" dt="2023-07-28T20:55:01.707" v="817" actId="20577"/>
          <ac:spMkLst>
            <pc:docMk/>
            <pc:sldMk cId="3045417633" sldId="2146846418"/>
            <ac:spMk id="2" creationId="{D423FFAF-9CDC-ACC2-E90E-850A37957BAA}"/>
          </ac:spMkLst>
        </pc:spChg>
        <pc:spChg chg="mod">
          <ac:chgData name="Md Fahim Hasan" userId="S::mdfahim.hasan@bayer.com::92968fce-d4dd-4b9e-8635-66a07c9f98a7" providerId="AD" clId="Web-{C8C39F1F-632B-2C66-3756-C1AF0FCACA42}" dt="2023-07-28T20:55:01.739" v="818" actId="20577"/>
          <ac:spMkLst>
            <pc:docMk/>
            <pc:sldMk cId="3045417633" sldId="2146846418"/>
            <ac:spMk id="3" creationId="{BBE374DC-2B4D-CC21-509C-1EE76C7459BF}"/>
          </ac:spMkLst>
        </pc:spChg>
        <pc:spChg chg="mod">
          <ac:chgData name="Md Fahim Hasan" userId="S::mdfahim.hasan@bayer.com::92968fce-d4dd-4b9e-8635-66a07c9f98a7" providerId="AD" clId="Web-{C8C39F1F-632B-2C66-3756-C1AF0FCACA42}" dt="2023-07-28T21:55:14.617" v="1719" actId="1076"/>
          <ac:spMkLst>
            <pc:docMk/>
            <pc:sldMk cId="3045417633" sldId="2146846418"/>
            <ac:spMk id="5" creationId="{9F7F57A7-442D-82AB-3AD9-521A308C82AF}"/>
          </ac:spMkLst>
        </pc:spChg>
        <pc:spChg chg="mod">
          <ac:chgData name="Md Fahim Hasan" userId="S::mdfahim.hasan@bayer.com::92968fce-d4dd-4b9e-8635-66a07c9f98a7" providerId="AD" clId="Web-{C8C39F1F-632B-2C66-3756-C1AF0FCACA42}" dt="2023-07-28T20:55:01.785" v="820" actId="20577"/>
          <ac:spMkLst>
            <pc:docMk/>
            <pc:sldMk cId="3045417633" sldId="2146846418"/>
            <ac:spMk id="6" creationId="{D027ECB3-9E9A-490C-3B18-F9FAFF0F379D}"/>
          </ac:spMkLst>
        </pc:spChg>
        <pc:spChg chg="mod">
          <ac:chgData name="Md Fahim Hasan" userId="S::mdfahim.hasan@bayer.com::92968fce-d4dd-4b9e-8635-66a07c9f98a7" providerId="AD" clId="Web-{C8C39F1F-632B-2C66-3756-C1AF0FCACA42}" dt="2023-07-28T20:55:01.832" v="821" actId="20577"/>
          <ac:spMkLst>
            <pc:docMk/>
            <pc:sldMk cId="3045417633" sldId="2146846418"/>
            <ac:spMk id="7" creationId="{42710935-B651-FC59-77DA-0FCAAAFDFECA}"/>
          </ac:spMkLst>
        </pc:spChg>
        <pc:spChg chg="mod">
          <ac:chgData name="Md Fahim Hasan" userId="S::mdfahim.hasan@bayer.com::92968fce-d4dd-4b9e-8635-66a07c9f98a7" providerId="AD" clId="Web-{C8C39F1F-632B-2C66-3756-C1AF0FCACA42}" dt="2023-07-28T20:55:01.848" v="822" actId="20577"/>
          <ac:spMkLst>
            <pc:docMk/>
            <pc:sldMk cId="3045417633" sldId="2146846418"/>
            <ac:spMk id="8" creationId="{A4B40D14-0A2C-A05B-A83A-19A0895929AA}"/>
          </ac:spMkLst>
        </pc:spChg>
        <pc:spChg chg="mod">
          <ac:chgData name="Md Fahim Hasan" userId="S::mdfahim.hasan@bayer.com::92968fce-d4dd-4b9e-8635-66a07c9f98a7" providerId="AD" clId="Web-{C8C39F1F-632B-2C66-3756-C1AF0FCACA42}" dt="2023-07-28T20:55:28.270" v="837" actId="20577"/>
          <ac:spMkLst>
            <pc:docMk/>
            <pc:sldMk cId="3045417633" sldId="2146846418"/>
            <ac:spMk id="9" creationId="{DCE765C9-F866-A10C-05BC-B0F5CF7D4FA9}"/>
          </ac:spMkLst>
        </pc:spChg>
        <pc:spChg chg="mod">
          <ac:chgData name="Md Fahim Hasan" userId="S::mdfahim.hasan@bayer.com::92968fce-d4dd-4b9e-8635-66a07c9f98a7" providerId="AD" clId="Web-{C8C39F1F-632B-2C66-3756-C1AF0FCACA42}" dt="2023-07-28T20:55:01.879" v="823" actId="20577"/>
          <ac:spMkLst>
            <pc:docMk/>
            <pc:sldMk cId="3045417633" sldId="2146846418"/>
            <ac:spMk id="10" creationId="{2393CE26-9104-47DD-1444-9251A959AAF8}"/>
          </ac:spMkLst>
        </pc:spChg>
        <pc:spChg chg="mod">
          <ac:chgData name="Md Fahim Hasan" userId="S::mdfahim.hasan@bayer.com::92968fce-d4dd-4b9e-8635-66a07c9f98a7" providerId="AD" clId="Web-{C8C39F1F-632B-2C66-3756-C1AF0FCACA42}" dt="2023-07-28T20:55:02.067" v="828" actId="20577"/>
          <ac:spMkLst>
            <pc:docMk/>
            <pc:sldMk cId="3045417633" sldId="2146846418"/>
            <ac:spMk id="13" creationId="{3BF66BB4-76B3-B846-B348-5E45C1721294}"/>
          </ac:spMkLst>
        </pc:spChg>
        <pc:spChg chg="mod">
          <ac:chgData name="Md Fahim Hasan" userId="S::mdfahim.hasan@bayer.com::92968fce-d4dd-4b9e-8635-66a07c9f98a7" providerId="AD" clId="Web-{C8C39F1F-632B-2C66-3756-C1AF0FCACA42}" dt="2023-07-28T20:55:02.082" v="829" actId="20577"/>
          <ac:spMkLst>
            <pc:docMk/>
            <pc:sldMk cId="3045417633" sldId="2146846418"/>
            <ac:spMk id="14" creationId="{1ECF1496-C26E-777C-A1F2-11A012EB99FF}"/>
          </ac:spMkLst>
        </pc:spChg>
        <pc:spChg chg="mod">
          <ac:chgData name="Md Fahim Hasan" userId="S::mdfahim.hasan@bayer.com::92968fce-d4dd-4b9e-8635-66a07c9f98a7" providerId="AD" clId="Web-{C8C39F1F-632B-2C66-3756-C1AF0FCACA42}" dt="2023-07-28T20:55:02.098" v="830" actId="20577"/>
          <ac:spMkLst>
            <pc:docMk/>
            <pc:sldMk cId="3045417633" sldId="2146846418"/>
            <ac:spMk id="15" creationId="{9E0E1CDE-6703-FD9D-1A66-476619E1C835}"/>
          </ac:spMkLst>
        </pc:spChg>
        <pc:spChg chg="mod">
          <ac:chgData name="Md Fahim Hasan" userId="S::mdfahim.hasan@bayer.com::92968fce-d4dd-4b9e-8635-66a07c9f98a7" providerId="AD" clId="Web-{C8C39F1F-632B-2C66-3756-C1AF0FCACA42}" dt="2023-07-28T20:55:01.910" v="824" actId="20577"/>
          <ac:spMkLst>
            <pc:docMk/>
            <pc:sldMk cId="3045417633" sldId="2146846418"/>
            <ac:spMk id="16" creationId="{84F5F83C-35E6-5099-E1AF-3CD54D9B2E5D}"/>
          </ac:spMkLst>
        </pc:spChg>
        <pc:spChg chg="mod">
          <ac:chgData name="Md Fahim Hasan" userId="S::mdfahim.hasan@bayer.com::92968fce-d4dd-4b9e-8635-66a07c9f98a7" providerId="AD" clId="Web-{C8C39F1F-632B-2C66-3756-C1AF0FCACA42}" dt="2023-07-28T20:55:01.957" v="825" actId="20577"/>
          <ac:spMkLst>
            <pc:docMk/>
            <pc:sldMk cId="3045417633" sldId="2146846418"/>
            <ac:spMk id="17" creationId="{312523D9-B3BC-1E8B-706E-D99E9EB5EB72}"/>
          </ac:spMkLst>
        </pc:spChg>
        <pc:spChg chg="mod">
          <ac:chgData name="Md Fahim Hasan" userId="S::mdfahim.hasan@bayer.com::92968fce-d4dd-4b9e-8635-66a07c9f98a7" providerId="AD" clId="Web-{C8C39F1F-632B-2C66-3756-C1AF0FCACA42}" dt="2023-07-28T20:55:02.114" v="831" actId="20577"/>
          <ac:spMkLst>
            <pc:docMk/>
            <pc:sldMk cId="3045417633" sldId="2146846418"/>
            <ac:spMk id="18" creationId="{2EC65C43-8A7C-E56C-A017-801E1D3F8056}"/>
          </ac:spMkLst>
        </pc:spChg>
        <pc:spChg chg="mod">
          <ac:chgData name="Md Fahim Hasan" userId="S::mdfahim.hasan@bayer.com::92968fce-d4dd-4b9e-8635-66a07c9f98a7" providerId="AD" clId="Web-{C8C39F1F-632B-2C66-3756-C1AF0FCACA42}" dt="2023-07-28T20:55:02.004" v="826" actId="20577"/>
          <ac:spMkLst>
            <pc:docMk/>
            <pc:sldMk cId="3045417633" sldId="2146846418"/>
            <ac:spMk id="41" creationId="{AF888FBF-A457-95EB-8F40-9876975F7B07}"/>
          </ac:spMkLst>
        </pc:spChg>
        <pc:spChg chg="mod">
          <ac:chgData name="Md Fahim Hasan" userId="S::mdfahim.hasan@bayer.com::92968fce-d4dd-4b9e-8635-66a07c9f98a7" providerId="AD" clId="Web-{C8C39F1F-632B-2C66-3756-C1AF0FCACA42}" dt="2023-07-28T20:55:02.035" v="827" actId="20577"/>
          <ac:spMkLst>
            <pc:docMk/>
            <pc:sldMk cId="3045417633" sldId="2146846418"/>
            <ac:spMk id="49" creationId="{19C589D2-8479-4B0D-4A80-DEFC3E7C4CC5}"/>
          </ac:spMkLst>
        </pc:spChg>
        <pc:cxnChg chg="mod">
          <ac:chgData name="Md Fahim Hasan" userId="S::mdfahim.hasan@bayer.com::92968fce-d4dd-4b9e-8635-66a07c9f98a7" providerId="AD" clId="Web-{C8C39F1F-632B-2C66-3756-C1AF0FCACA42}" dt="2023-07-28T21:55:57.665" v="1723" actId="14100"/>
          <ac:cxnSpMkLst>
            <pc:docMk/>
            <pc:sldMk cId="3045417633" sldId="2146846418"/>
            <ac:cxnSpMk id="74" creationId="{7C59F5D8-CB92-52E7-C960-05BF652B3B6E}"/>
          </ac:cxnSpMkLst>
        </pc:cxnChg>
      </pc:sldChg>
      <pc:sldChg chg="modSp">
        <pc:chgData name="Md Fahim Hasan" userId="S::mdfahim.hasan@bayer.com::92968fce-d4dd-4b9e-8635-66a07c9f98a7" providerId="AD" clId="Web-{C8C39F1F-632B-2C66-3756-C1AF0FCACA42}" dt="2023-07-28T21:55:13.961" v="1718" actId="1076"/>
        <pc:sldMkLst>
          <pc:docMk/>
          <pc:sldMk cId="3091098860" sldId="2146846420"/>
        </pc:sldMkLst>
        <pc:spChg chg="mod">
          <ac:chgData name="Md Fahim Hasan" userId="S::mdfahim.hasan@bayer.com::92968fce-d4dd-4b9e-8635-66a07c9f98a7" providerId="AD" clId="Web-{C8C39F1F-632B-2C66-3756-C1AF0FCACA42}" dt="2023-07-28T20:50:39.624" v="790" actId="20577"/>
          <ac:spMkLst>
            <pc:docMk/>
            <pc:sldMk cId="3091098860" sldId="2146846420"/>
            <ac:spMk id="2" creationId="{01022AA2-4ED6-33F1-DCC7-83E7BA387B4B}"/>
          </ac:spMkLst>
        </pc:spChg>
        <pc:spChg chg="mod">
          <ac:chgData name="Md Fahim Hasan" userId="S::mdfahim.hasan@bayer.com::92968fce-d4dd-4b9e-8635-66a07c9f98a7" providerId="AD" clId="Web-{C8C39F1F-632B-2C66-3756-C1AF0FCACA42}" dt="2023-07-28T20:52:01.985" v="803" actId="20577"/>
          <ac:spMkLst>
            <pc:docMk/>
            <pc:sldMk cId="3091098860" sldId="2146846420"/>
            <ac:spMk id="3" creationId="{76C83492-675C-BDF8-08D6-D05F59107492}"/>
          </ac:spMkLst>
        </pc:spChg>
        <pc:spChg chg="mod">
          <ac:chgData name="Md Fahim Hasan" userId="S::mdfahim.hasan@bayer.com::92968fce-d4dd-4b9e-8635-66a07c9f98a7" providerId="AD" clId="Web-{C8C39F1F-632B-2C66-3756-C1AF0FCACA42}" dt="2023-07-28T20:50:48.968" v="799" actId="1076"/>
          <ac:spMkLst>
            <pc:docMk/>
            <pc:sldMk cId="3091098860" sldId="2146846420"/>
            <ac:spMk id="9" creationId="{DCE765C9-F866-A10C-05BC-B0F5CF7D4FA9}"/>
          </ac:spMkLst>
        </pc:spChg>
        <pc:spChg chg="mod">
          <ac:chgData name="Md Fahim Hasan" userId="S::mdfahim.hasan@bayer.com::92968fce-d4dd-4b9e-8635-66a07c9f98a7" providerId="AD" clId="Web-{C8C39F1F-632B-2C66-3756-C1AF0FCACA42}" dt="2023-07-28T21:54:52.351" v="1716" actId="1076"/>
          <ac:spMkLst>
            <pc:docMk/>
            <pc:sldMk cId="3091098860" sldId="2146846420"/>
            <ac:spMk id="10" creationId="{0493CA3C-A4A5-7D4C-211C-75EC0115E151}"/>
          </ac:spMkLst>
        </pc:spChg>
        <pc:spChg chg="mod">
          <ac:chgData name="Md Fahim Hasan" userId="S::mdfahim.hasan@bayer.com::92968fce-d4dd-4b9e-8635-66a07c9f98a7" providerId="AD" clId="Web-{C8C39F1F-632B-2C66-3756-C1AF0FCACA42}" dt="2023-07-28T20:50:39.671" v="793" actId="20577"/>
          <ac:spMkLst>
            <pc:docMk/>
            <pc:sldMk cId="3091098860" sldId="2146846420"/>
            <ac:spMk id="16" creationId="{E1D5A8CA-E18A-9013-002D-ECA1C349ACB2}"/>
          </ac:spMkLst>
        </pc:spChg>
        <pc:spChg chg="mod">
          <ac:chgData name="Md Fahim Hasan" userId="S::mdfahim.hasan@bayer.com::92968fce-d4dd-4b9e-8635-66a07c9f98a7" providerId="AD" clId="Web-{C8C39F1F-632B-2C66-3756-C1AF0FCACA42}" dt="2023-07-28T20:50:39.734" v="794" actId="20577"/>
          <ac:spMkLst>
            <pc:docMk/>
            <pc:sldMk cId="3091098860" sldId="2146846420"/>
            <ac:spMk id="21" creationId="{8BBD99BD-72B6-B1F3-A76A-4FE9DD5EA5DC}"/>
          </ac:spMkLst>
        </pc:spChg>
        <pc:picChg chg="mod">
          <ac:chgData name="Md Fahim Hasan" userId="S::mdfahim.hasan@bayer.com::92968fce-d4dd-4b9e-8635-66a07c9f98a7" providerId="AD" clId="Web-{C8C39F1F-632B-2C66-3756-C1AF0FCACA42}" dt="2023-07-28T21:55:13.961" v="1718" actId="1076"/>
          <ac:picMkLst>
            <pc:docMk/>
            <pc:sldMk cId="3091098860" sldId="2146846420"/>
            <ac:picMk id="12" creationId="{90ABC447-2E42-0759-A4D9-C6C53471FABF}"/>
          </ac:picMkLst>
        </pc:picChg>
      </pc:sldChg>
      <pc:sldChg chg="modSp">
        <pc:chgData name="Md Fahim Hasan" userId="S::mdfahim.hasan@bayer.com::92968fce-d4dd-4b9e-8635-66a07c9f98a7" providerId="AD" clId="Web-{C8C39F1F-632B-2C66-3756-C1AF0FCACA42}" dt="2023-07-28T22:02:48.157" v="1839" actId="14100"/>
        <pc:sldMkLst>
          <pc:docMk/>
          <pc:sldMk cId="1473364542" sldId="2146846421"/>
        </pc:sldMkLst>
        <pc:spChg chg="mod">
          <ac:chgData name="Md Fahim Hasan" userId="S::mdfahim.hasan@bayer.com::92968fce-d4dd-4b9e-8635-66a07c9f98a7" providerId="AD" clId="Web-{C8C39F1F-632B-2C66-3756-C1AF0FCACA42}" dt="2023-07-28T22:02:48.157" v="1839" actId="14100"/>
          <ac:spMkLst>
            <pc:docMk/>
            <pc:sldMk cId="1473364542" sldId="2146846421"/>
            <ac:spMk id="9" creationId="{DCE765C9-F866-A10C-05BC-B0F5CF7D4FA9}"/>
          </ac:spMkLst>
        </pc:spChg>
      </pc:sldChg>
      <pc:sldChg chg="modSp">
        <pc:chgData name="Md Fahim Hasan" userId="S::mdfahim.hasan@bayer.com::92968fce-d4dd-4b9e-8635-66a07c9f98a7" providerId="AD" clId="Web-{C8C39F1F-632B-2C66-3756-C1AF0FCACA42}" dt="2023-07-28T22:00:41.342" v="1791" actId="1076"/>
        <pc:sldMkLst>
          <pc:docMk/>
          <pc:sldMk cId="1052435917" sldId="2146846422"/>
        </pc:sldMkLst>
        <pc:spChg chg="mod">
          <ac:chgData name="Md Fahim Hasan" userId="S::mdfahim.hasan@bayer.com::92968fce-d4dd-4b9e-8635-66a07c9f98a7" providerId="AD" clId="Web-{C8C39F1F-632B-2C66-3756-C1AF0FCACA42}" dt="2023-07-28T22:00:41.342" v="1791" actId="1076"/>
          <ac:spMkLst>
            <pc:docMk/>
            <pc:sldMk cId="1052435917" sldId="2146846422"/>
            <ac:spMk id="9" creationId="{DCE765C9-F866-A10C-05BC-B0F5CF7D4FA9}"/>
          </ac:spMkLst>
        </pc:spChg>
      </pc:sldChg>
      <pc:sldChg chg="modSp">
        <pc:chgData name="Md Fahim Hasan" userId="S::mdfahim.hasan@bayer.com::92968fce-d4dd-4b9e-8635-66a07c9f98a7" providerId="AD" clId="Web-{C8C39F1F-632B-2C66-3756-C1AF0FCACA42}" dt="2023-07-28T22:02:22.172" v="1821" actId="14100"/>
        <pc:sldMkLst>
          <pc:docMk/>
          <pc:sldMk cId="987091660" sldId="2146846423"/>
        </pc:sldMkLst>
        <pc:spChg chg="mod">
          <ac:chgData name="Md Fahim Hasan" userId="S::mdfahim.hasan@bayer.com::92968fce-d4dd-4b9e-8635-66a07c9f98a7" providerId="AD" clId="Web-{C8C39F1F-632B-2C66-3756-C1AF0FCACA42}" dt="2023-07-28T22:02:22.172" v="1821" actId="14100"/>
          <ac:spMkLst>
            <pc:docMk/>
            <pc:sldMk cId="987091660" sldId="2146846423"/>
            <ac:spMk id="9" creationId="{DCE765C9-F866-A10C-05BC-B0F5CF7D4FA9}"/>
          </ac:spMkLst>
        </pc:spChg>
      </pc:sldChg>
      <pc:sldChg chg="modSp">
        <pc:chgData name="Md Fahim Hasan" userId="S::mdfahim.hasan@bayer.com::92968fce-d4dd-4b9e-8635-66a07c9f98a7" providerId="AD" clId="Web-{C8C39F1F-632B-2C66-3756-C1AF0FCACA42}" dt="2023-07-28T21:24:14.130" v="1114" actId="20577"/>
        <pc:sldMkLst>
          <pc:docMk/>
          <pc:sldMk cId="3932240654" sldId="2146846424"/>
        </pc:sldMkLst>
        <pc:spChg chg="mod">
          <ac:chgData name="Md Fahim Hasan" userId="S::mdfahim.hasan@bayer.com::92968fce-d4dd-4b9e-8635-66a07c9f98a7" providerId="AD" clId="Web-{C8C39F1F-632B-2C66-3756-C1AF0FCACA42}" dt="2023-07-28T21:23:35.552" v="1105" actId="20577"/>
          <ac:spMkLst>
            <pc:docMk/>
            <pc:sldMk cId="3932240654" sldId="2146846424"/>
            <ac:spMk id="2" creationId="{99AE1A04-85B3-C2B8-36C1-23AD8083AA4B}"/>
          </ac:spMkLst>
        </pc:spChg>
        <pc:spChg chg="mod">
          <ac:chgData name="Md Fahim Hasan" userId="S::mdfahim.hasan@bayer.com::92968fce-d4dd-4b9e-8635-66a07c9f98a7" providerId="AD" clId="Web-{C8C39F1F-632B-2C66-3756-C1AF0FCACA42}" dt="2023-07-28T21:24:14.130" v="1114" actId="20577"/>
          <ac:spMkLst>
            <pc:docMk/>
            <pc:sldMk cId="3932240654" sldId="2146846424"/>
            <ac:spMk id="4" creationId="{7F5F4019-3D4B-8395-A8BB-840FAF1EA8B1}"/>
          </ac:spMkLst>
        </pc:spChg>
        <pc:spChg chg="mod">
          <ac:chgData name="Md Fahim Hasan" userId="S::mdfahim.hasan@bayer.com::92968fce-d4dd-4b9e-8635-66a07c9f98a7" providerId="AD" clId="Web-{C8C39F1F-632B-2C66-3756-C1AF0FCACA42}" dt="2023-07-28T21:24:00.552" v="1113" actId="1076"/>
          <ac:spMkLst>
            <pc:docMk/>
            <pc:sldMk cId="3932240654" sldId="2146846424"/>
            <ac:spMk id="9" creationId="{DCE765C9-F866-A10C-05BC-B0F5CF7D4FA9}"/>
          </ac:spMkLst>
        </pc:spChg>
      </pc:sldChg>
      <pc:sldChg chg="modSp">
        <pc:chgData name="Md Fahim Hasan" userId="S::mdfahim.hasan@bayer.com::92968fce-d4dd-4b9e-8635-66a07c9f98a7" providerId="AD" clId="Web-{C8C39F1F-632B-2C66-3756-C1AF0FCACA42}" dt="2023-07-28T22:04:12.440" v="1868"/>
        <pc:sldMkLst>
          <pc:docMk/>
          <pc:sldMk cId="3866130774" sldId="2146846425"/>
        </pc:sldMkLst>
        <pc:spChg chg="mod">
          <ac:chgData name="Md Fahim Hasan" userId="S::mdfahim.hasan@bayer.com::92968fce-d4dd-4b9e-8635-66a07c9f98a7" providerId="AD" clId="Web-{C8C39F1F-632B-2C66-3756-C1AF0FCACA42}" dt="2023-07-28T22:03:43.783" v="1856" actId="20577"/>
          <ac:spMkLst>
            <pc:docMk/>
            <pc:sldMk cId="3866130774" sldId="2146846425"/>
            <ac:spMk id="9" creationId="{DCE765C9-F866-A10C-05BC-B0F5CF7D4FA9}"/>
          </ac:spMkLst>
        </pc:spChg>
        <pc:graphicFrameChg chg="mod modGraphic">
          <ac:chgData name="Md Fahim Hasan" userId="S::mdfahim.hasan@bayer.com::92968fce-d4dd-4b9e-8635-66a07c9f98a7" providerId="AD" clId="Web-{C8C39F1F-632B-2C66-3756-C1AF0FCACA42}" dt="2023-07-28T22:04:12.440" v="1868"/>
          <ac:graphicFrameMkLst>
            <pc:docMk/>
            <pc:sldMk cId="3866130774" sldId="2146846425"/>
            <ac:graphicFrameMk id="5" creationId="{8954F76B-D164-244F-57F5-54AA63A6742C}"/>
          </ac:graphicFrameMkLst>
        </pc:graphicFrameChg>
      </pc:sldChg>
      <pc:sldChg chg="modSp mod modShow">
        <pc:chgData name="Md Fahim Hasan" userId="S::mdfahim.hasan@bayer.com::92968fce-d4dd-4b9e-8635-66a07c9f98a7" providerId="AD" clId="Web-{C8C39F1F-632B-2C66-3756-C1AF0FCACA42}" dt="2023-07-28T21:59:20.607" v="1770" actId="14100"/>
        <pc:sldMkLst>
          <pc:docMk/>
          <pc:sldMk cId="2294886516" sldId="2146846426"/>
        </pc:sldMkLst>
        <pc:spChg chg="mod">
          <ac:chgData name="Md Fahim Hasan" userId="S::mdfahim.hasan@bayer.com::92968fce-d4dd-4b9e-8635-66a07c9f98a7" providerId="AD" clId="Web-{C8C39F1F-632B-2C66-3756-C1AF0FCACA42}" dt="2023-07-28T21:59:20.607" v="1770" actId="14100"/>
          <ac:spMkLst>
            <pc:docMk/>
            <pc:sldMk cId="2294886516" sldId="2146846426"/>
            <ac:spMk id="9" creationId="{DCE765C9-F866-A10C-05BC-B0F5CF7D4FA9}"/>
          </ac:spMkLst>
        </pc:spChg>
      </pc:sldChg>
      <pc:sldChg chg="modSp">
        <pc:chgData name="Md Fahim Hasan" userId="S::mdfahim.hasan@bayer.com::92968fce-d4dd-4b9e-8635-66a07c9f98a7" providerId="AD" clId="Web-{C8C39F1F-632B-2C66-3756-C1AF0FCACA42}" dt="2023-07-28T22:00:10.873" v="1783" actId="20577"/>
        <pc:sldMkLst>
          <pc:docMk/>
          <pc:sldMk cId="4054525422" sldId="2146846427"/>
        </pc:sldMkLst>
        <pc:spChg chg="mod">
          <ac:chgData name="Md Fahim Hasan" userId="S::mdfahim.hasan@bayer.com::92968fce-d4dd-4b9e-8635-66a07c9f98a7" providerId="AD" clId="Web-{C8C39F1F-632B-2C66-3756-C1AF0FCACA42}" dt="2023-07-28T22:00:10.873" v="1783" actId="20577"/>
          <ac:spMkLst>
            <pc:docMk/>
            <pc:sldMk cId="4054525422" sldId="2146846427"/>
            <ac:spMk id="9" creationId="{DCE765C9-F866-A10C-05BC-B0F5CF7D4FA9}"/>
          </ac:spMkLst>
        </pc:spChg>
      </pc:sldChg>
      <pc:sldChg chg="modSp">
        <pc:chgData name="Md Fahim Hasan" userId="S::mdfahim.hasan@bayer.com::92968fce-d4dd-4b9e-8635-66a07c9f98a7" providerId="AD" clId="Web-{C8C39F1F-632B-2C66-3756-C1AF0FCACA42}" dt="2023-07-28T22:02:05.422" v="1814" actId="14100"/>
        <pc:sldMkLst>
          <pc:docMk/>
          <pc:sldMk cId="2148413348" sldId="2146846428"/>
        </pc:sldMkLst>
        <pc:spChg chg="mod">
          <ac:chgData name="Md Fahim Hasan" userId="S::mdfahim.hasan@bayer.com::92968fce-d4dd-4b9e-8635-66a07c9f98a7" providerId="AD" clId="Web-{C8C39F1F-632B-2C66-3756-C1AF0FCACA42}" dt="2023-07-28T22:02:05.422" v="1814" actId="14100"/>
          <ac:spMkLst>
            <pc:docMk/>
            <pc:sldMk cId="2148413348" sldId="2146846428"/>
            <ac:spMk id="9" creationId="{DCE765C9-F866-A10C-05BC-B0F5CF7D4FA9}"/>
          </ac:spMkLst>
        </pc:spChg>
      </pc:sldChg>
      <pc:sldChg chg="modSp">
        <pc:chgData name="Md Fahim Hasan" userId="S::mdfahim.hasan@bayer.com::92968fce-d4dd-4b9e-8635-66a07c9f98a7" providerId="AD" clId="Web-{C8C39F1F-632B-2C66-3756-C1AF0FCACA42}" dt="2023-07-28T22:08:16.257" v="1879" actId="1076"/>
        <pc:sldMkLst>
          <pc:docMk/>
          <pc:sldMk cId="4234255154" sldId="2146846429"/>
        </pc:sldMkLst>
        <pc:spChg chg="mod">
          <ac:chgData name="Md Fahim Hasan" userId="S::mdfahim.hasan@bayer.com::92968fce-d4dd-4b9e-8635-66a07c9f98a7" providerId="AD" clId="Web-{C8C39F1F-632B-2C66-3756-C1AF0FCACA42}" dt="2023-07-28T22:08:16.257" v="1879" actId="1076"/>
          <ac:spMkLst>
            <pc:docMk/>
            <pc:sldMk cId="4234255154" sldId="2146846429"/>
            <ac:spMk id="9" creationId="{DCE765C9-F866-A10C-05BC-B0F5CF7D4FA9}"/>
          </ac:spMkLst>
        </pc:spChg>
      </pc:sldChg>
      <pc:sldChg chg="modSp addAnim delAnim">
        <pc:chgData name="Md Fahim Hasan" userId="S::mdfahim.hasan@bayer.com::92968fce-d4dd-4b9e-8635-66a07c9f98a7" providerId="AD" clId="Web-{C8C39F1F-632B-2C66-3756-C1AF0FCACA42}" dt="2023-07-28T22:14:08.139" v="1880" actId="14100"/>
        <pc:sldMkLst>
          <pc:docMk/>
          <pc:sldMk cId="2909473707" sldId="2146846430"/>
        </pc:sldMkLst>
        <pc:spChg chg="mod">
          <ac:chgData name="Md Fahim Hasan" userId="S::mdfahim.hasan@bayer.com::92968fce-d4dd-4b9e-8635-66a07c9f98a7" providerId="AD" clId="Web-{C8C39F1F-632B-2C66-3756-C1AF0FCACA42}" dt="2023-07-28T21:02:44.325" v="938" actId="20577"/>
          <ac:spMkLst>
            <pc:docMk/>
            <pc:sldMk cId="2909473707" sldId="2146846430"/>
            <ac:spMk id="2" creationId="{01022AA2-4ED6-33F1-DCC7-83E7BA387B4B}"/>
          </ac:spMkLst>
        </pc:spChg>
        <pc:spChg chg="mod">
          <ac:chgData name="Md Fahim Hasan" userId="S::mdfahim.hasan@bayer.com::92968fce-d4dd-4b9e-8635-66a07c9f98a7" providerId="AD" clId="Web-{C8C39F1F-632B-2C66-3756-C1AF0FCACA42}" dt="2023-07-28T21:02:44.544" v="974" actId="20577"/>
          <ac:spMkLst>
            <pc:docMk/>
            <pc:sldMk cId="2909473707" sldId="2146846430"/>
            <ac:spMk id="3" creationId="{F85CE8A7-A3C4-8714-8E34-FC0984E2782A}"/>
          </ac:spMkLst>
        </pc:spChg>
        <pc:spChg chg="mod">
          <ac:chgData name="Md Fahim Hasan" userId="S::mdfahim.hasan@bayer.com::92968fce-d4dd-4b9e-8635-66a07c9f98a7" providerId="AD" clId="Web-{C8C39F1F-632B-2C66-3756-C1AF0FCACA42}" dt="2023-07-28T21:03:10.357" v="986" actId="1076"/>
          <ac:spMkLst>
            <pc:docMk/>
            <pc:sldMk cId="2909473707" sldId="2146846430"/>
            <ac:spMk id="6" creationId="{FCAC62EA-8A81-EE11-10F3-39C2B2E65E1E}"/>
          </ac:spMkLst>
        </pc:spChg>
        <pc:spChg chg="mod">
          <ac:chgData name="Md Fahim Hasan" userId="S::mdfahim.hasan@bayer.com::92968fce-d4dd-4b9e-8635-66a07c9f98a7" providerId="AD" clId="Web-{C8C39F1F-632B-2C66-3756-C1AF0FCACA42}" dt="2023-07-28T21:03:02.388" v="984" actId="1076"/>
          <ac:spMkLst>
            <pc:docMk/>
            <pc:sldMk cId="2909473707" sldId="2146846430"/>
            <ac:spMk id="7" creationId="{F6EAD1EE-7BCC-F32D-900D-A3EA1DD52B04}"/>
          </ac:spMkLst>
        </pc:spChg>
        <pc:spChg chg="mod">
          <ac:chgData name="Md Fahim Hasan" userId="S::mdfahim.hasan@bayer.com::92968fce-d4dd-4b9e-8635-66a07c9f98a7" providerId="AD" clId="Web-{C8C39F1F-632B-2C66-3756-C1AF0FCACA42}" dt="2023-07-28T21:03:14.279" v="987" actId="1076"/>
          <ac:spMkLst>
            <pc:docMk/>
            <pc:sldMk cId="2909473707" sldId="2146846430"/>
            <ac:spMk id="8" creationId="{DF929442-23E2-832B-07C5-CFA9F0D8C74C}"/>
          </ac:spMkLst>
        </pc:spChg>
        <pc:spChg chg="mod">
          <ac:chgData name="Md Fahim Hasan" userId="S::mdfahim.hasan@bayer.com::92968fce-d4dd-4b9e-8635-66a07c9f98a7" providerId="AD" clId="Web-{C8C39F1F-632B-2C66-3756-C1AF0FCACA42}" dt="2023-07-28T21:03:05.388" v="985" actId="1076"/>
          <ac:spMkLst>
            <pc:docMk/>
            <pc:sldMk cId="2909473707" sldId="2146846430"/>
            <ac:spMk id="9" creationId="{DCE765C9-F866-A10C-05BC-B0F5CF7D4FA9}"/>
          </ac:spMkLst>
        </pc:spChg>
        <pc:spChg chg="mod">
          <ac:chgData name="Md Fahim Hasan" userId="S::mdfahim.hasan@bayer.com::92968fce-d4dd-4b9e-8635-66a07c9f98a7" providerId="AD" clId="Web-{C8C39F1F-632B-2C66-3756-C1AF0FCACA42}" dt="2023-07-28T21:02:44.513" v="973" actId="20577"/>
          <ac:spMkLst>
            <pc:docMk/>
            <pc:sldMk cId="2909473707" sldId="2146846430"/>
            <ac:spMk id="10" creationId="{06DC33EA-80CC-17B8-8CC3-A0A0E08E06B1}"/>
          </ac:spMkLst>
        </pc:spChg>
        <pc:spChg chg="mod">
          <ac:chgData name="Md Fahim Hasan" userId="S::mdfahim.hasan@bayer.com::92968fce-d4dd-4b9e-8635-66a07c9f98a7" providerId="AD" clId="Web-{C8C39F1F-632B-2C66-3756-C1AF0FCACA42}" dt="2023-07-28T21:04:28.187" v="996" actId="20577"/>
          <ac:spMkLst>
            <pc:docMk/>
            <pc:sldMk cId="2909473707" sldId="2146846430"/>
            <ac:spMk id="13" creationId="{1B27D0BC-C32A-050B-3A51-2822116A2D94}"/>
          </ac:spMkLst>
        </pc:spChg>
        <pc:graphicFrameChg chg="mod modGraphic">
          <ac:chgData name="Md Fahim Hasan" userId="S::mdfahim.hasan@bayer.com::92968fce-d4dd-4b9e-8635-66a07c9f98a7" providerId="AD" clId="Web-{C8C39F1F-632B-2C66-3756-C1AF0FCACA42}" dt="2023-07-28T21:02:44.372" v="967"/>
          <ac:graphicFrameMkLst>
            <pc:docMk/>
            <pc:sldMk cId="2909473707" sldId="2146846430"/>
            <ac:graphicFrameMk id="4" creationId="{53C504F3-4F33-42DC-8E5D-BAF1733E2B0A}"/>
          </ac:graphicFrameMkLst>
        </pc:graphicFrameChg>
        <pc:cxnChg chg="mod">
          <ac:chgData name="Md Fahim Hasan" userId="S::mdfahim.hasan@bayer.com::92968fce-d4dd-4b9e-8635-66a07c9f98a7" providerId="AD" clId="Web-{C8C39F1F-632B-2C66-3756-C1AF0FCACA42}" dt="2023-07-28T22:14:08.139" v="1880" actId="14100"/>
          <ac:cxnSpMkLst>
            <pc:docMk/>
            <pc:sldMk cId="2909473707" sldId="2146846430"/>
            <ac:cxnSpMk id="19" creationId="{FAE4D339-4943-B0AD-4549-6AC9D471558B}"/>
          </ac:cxnSpMkLst>
        </pc:cxnChg>
      </pc:sldChg>
      <pc:sldChg chg="modSp delAnim">
        <pc:chgData name="Md Fahim Hasan" userId="S::mdfahim.hasan@bayer.com::92968fce-d4dd-4b9e-8635-66a07c9f98a7" providerId="AD" clId="Web-{C8C39F1F-632B-2C66-3756-C1AF0FCACA42}" dt="2023-07-28T22:01:32.297" v="1804"/>
        <pc:sldMkLst>
          <pc:docMk/>
          <pc:sldMk cId="1341090871" sldId="2146846431"/>
        </pc:sldMkLst>
        <pc:spChg chg="mod">
          <ac:chgData name="Md Fahim Hasan" userId="S::mdfahim.hasan@bayer.com::92968fce-d4dd-4b9e-8635-66a07c9f98a7" providerId="AD" clId="Web-{C8C39F1F-632B-2C66-3756-C1AF0FCACA42}" dt="2023-07-28T21:59:46.498" v="1778" actId="20577"/>
          <ac:spMkLst>
            <pc:docMk/>
            <pc:sldMk cId="1341090871" sldId="2146846431"/>
            <ac:spMk id="9" creationId="{DCE765C9-F866-A10C-05BC-B0F5CF7D4FA9}"/>
          </ac:spMkLst>
        </pc:spChg>
      </pc:sldChg>
      <pc:sldChg chg="modSp delAnim">
        <pc:chgData name="Md Fahim Hasan" userId="S::mdfahim.hasan@bayer.com::92968fce-d4dd-4b9e-8635-66a07c9f98a7" providerId="AD" clId="Web-{C8C39F1F-632B-2C66-3756-C1AF0FCACA42}" dt="2023-07-28T22:01:26.999" v="1803"/>
        <pc:sldMkLst>
          <pc:docMk/>
          <pc:sldMk cId="4249585210" sldId="2146846432"/>
        </pc:sldMkLst>
        <pc:spChg chg="mod">
          <ac:chgData name="Md Fahim Hasan" userId="S::mdfahim.hasan@bayer.com::92968fce-d4dd-4b9e-8635-66a07c9f98a7" providerId="AD" clId="Web-{C8C39F1F-632B-2C66-3756-C1AF0FCACA42}" dt="2023-07-28T22:01:08.218" v="1802" actId="20577"/>
          <ac:spMkLst>
            <pc:docMk/>
            <pc:sldMk cId="4249585210" sldId="2146846432"/>
            <ac:spMk id="9" creationId="{DCE765C9-F866-A10C-05BC-B0F5CF7D4FA9}"/>
          </ac:spMkLst>
        </pc:spChg>
      </pc:sldChg>
      <pc:sldChg chg="modSp">
        <pc:chgData name="Md Fahim Hasan" userId="S::mdfahim.hasan@bayer.com::92968fce-d4dd-4b9e-8635-66a07c9f98a7" providerId="AD" clId="Web-{C8C39F1F-632B-2C66-3756-C1AF0FCACA42}" dt="2023-07-28T21:32:51.765" v="1225" actId="1076"/>
        <pc:sldMkLst>
          <pc:docMk/>
          <pc:sldMk cId="167586922" sldId="2146846433"/>
        </pc:sldMkLst>
        <pc:spChg chg="mod">
          <ac:chgData name="Md Fahim Hasan" userId="S::mdfahim.hasan@bayer.com::92968fce-d4dd-4b9e-8635-66a07c9f98a7" providerId="AD" clId="Web-{C8C39F1F-632B-2C66-3756-C1AF0FCACA42}" dt="2023-07-28T21:32:51.765" v="1225" actId="1076"/>
          <ac:spMkLst>
            <pc:docMk/>
            <pc:sldMk cId="167586922" sldId="2146846433"/>
            <ac:spMk id="9" creationId="{DCE765C9-F866-A10C-05BC-B0F5CF7D4FA9}"/>
          </ac:spMkLst>
        </pc:spChg>
      </pc:sldChg>
      <pc:sldChg chg="modSp">
        <pc:chgData name="Md Fahim Hasan" userId="S::mdfahim.hasan@bayer.com::92968fce-d4dd-4b9e-8635-66a07c9f98a7" providerId="AD" clId="Web-{C8C39F1F-632B-2C66-3756-C1AF0FCACA42}" dt="2023-07-28T21:52:27.255" v="1703" actId="1076"/>
        <pc:sldMkLst>
          <pc:docMk/>
          <pc:sldMk cId="2603327664" sldId="2146846434"/>
        </pc:sldMkLst>
        <pc:spChg chg="mod">
          <ac:chgData name="Md Fahim Hasan" userId="S::mdfahim.hasan@bayer.com::92968fce-d4dd-4b9e-8635-66a07c9f98a7" providerId="AD" clId="Web-{C8C39F1F-632B-2C66-3756-C1AF0FCACA42}" dt="2023-07-28T21:33:45.516" v="1235"/>
          <ac:spMkLst>
            <pc:docMk/>
            <pc:sldMk cId="2603327664" sldId="2146846434"/>
            <ac:spMk id="3" creationId="{7B6B92E1-2AB9-FE4E-E2F4-AE076BC2F1C6}"/>
          </ac:spMkLst>
        </pc:spChg>
        <pc:spChg chg="mod">
          <ac:chgData name="Md Fahim Hasan" userId="S::mdfahim.hasan@bayer.com::92968fce-d4dd-4b9e-8635-66a07c9f98a7" providerId="AD" clId="Web-{C8C39F1F-632B-2C66-3756-C1AF0FCACA42}" dt="2023-07-28T21:52:27.255" v="1703" actId="1076"/>
          <ac:spMkLst>
            <pc:docMk/>
            <pc:sldMk cId="2603327664" sldId="2146846434"/>
            <ac:spMk id="9" creationId="{DCE765C9-F866-A10C-05BC-B0F5CF7D4FA9}"/>
          </ac:spMkLst>
        </pc:spChg>
        <pc:graphicFrameChg chg="modGraphic">
          <ac:chgData name="Md Fahim Hasan" userId="S::mdfahim.hasan@bayer.com::92968fce-d4dd-4b9e-8635-66a07c9f98a7" providerId="AD" clId="Web-{C8C39F1F-632B-2C66-3756-C1AF0FCACA42}" dt="2023-07-28T21:34:07.095" v="1238" actId="20577"/>
          <ac:graphicFrameMkLst>
            <pc:docMk/>
            <pc:sldMk cId="2603327664" sldId="2146846434"/>
            <ac:graphicFrameMk id="5" creationId="{A4E8D83B-07E6-446B-4C64-9CA10E465285}"/>
          </ac:graphicFrameMkLst>
        </pc:graphicFrameChg>
      </pc:sldChg>
      <pc:sldChg chg="modSp ord">
        <pc:chgData name="Md Fahim Hasan" userId="S::mdfahim.hasan@bayer.com::92968fce-d4dd-4b9e-8635-66a07c9f98a7" providerId="AD" clId="Web-{C8C39F1F-632B-2C66-3756-C1AF0FCACA42}" dt="2023-07-28T22:06:12.271" v="1876"/>
        <pc:sldMkLst>
          <pc:docMk/>
          <pc:sldMk cId="3078875381" sldId="2146846435"/>
        </pc:sldMkLst>
        <pc:spChg chg="mod">
          <ac:chgData name="Md Fahim Hasan" userId="S::mdfahim.hasan@bayer.com::92968fce-d4dd-4b9e-8635-66a07c9f98a7" providerId="AD" clId="Web-{C8C39F1F-632B-2C66-3756-C1AF0FCACA42}" dt="2023-07-28T22:06:00.817" v="1871" actId="20577"/>
          <ac:spMkLst>
            <pc:docMk/>
            <pc:sldMk cId="3078875381" sldId="2146846435"/>
            <ac:spMk id="2" creationId="{2D1AE629-3425-E62E-A6F6-3EF5E791B476}"/>
          </ac:spMkLst>
        </pc:spChg>
        <pc:spChg chg="mod">
          <ac:chgData name="Md Fahim Hasan" userId="S::mdfahim.hasan@bayer.com::92968fce-d4dd-4b9e-8635-66a07c9f98a7" providerId="AD" clId="Web-{C8C39F1F-632B-2C66-3756-C1AF0FCACA42}" dt="2023-07-28T22:06:00.786" v="1870" actId="20577"/>
          <ac:spMkLst>
            <pc:docMk/>
            <pc:sldMk cId="3078875381" sldId="2146846435"/>
            <ac:spMk id="3" creationId="{7B6B92E1-2AB9-FE4E-E2F4-AE076BC2F1C6}"/>
          </ac:spMkLst>
        </pc:spChg>
        <pc:spChg chg="mod">
          <ac:chgData name="Md Fahim Hasan" userId="S::mdfahim.hasan@bayer.com::92968fce-d4dd-4b9e-8635-66a07c9f98a7" providerId="AD" clId="Web-{C8C39F1F-632B-2C66-3756-C1AF0FCACA42}" dt="2023-07-28T22:06:04.583" v="1875" actId="20577"/>
          <ac:spMkLst>
            <pc:docMk/>
            <pc:sldMk cId="3078875381" sldId="2146846435"/>
            <ac:spMk id="9" creationId="{DCE765C9-F866-A10C-05BC-B0F5CF7D4FA9}"/>
          </ac:spMkLst>
        </pc:spChg>
      </pc:sldChg>
      <pc:sldChg chg="add del replId">
        <pc:chgData name="Md Fahim Hasan" userId="S::mdfahim.hasan@bayer.com::92968fce-d4dd-4b9e-8635-66a07c9f98a7" providerId="AD" clId="Web-{C8C39F1F-632B-2C66-3756-C1AF0FCACA42}" dt="2023-07-28T21:34:53.408" v="1245"/>
        <pc:sldMkLst>
          <pc:docMk/>
          <pc:sldMk cId="3487814937" sldId="2146846436"/>
        </pc:sldMkLst>
      </pc:sldChg>
    </pc:docChg>
  </pc:docChgLst>
  <pc:docChgLst>
    <pc:chgData name="Md Fahim Hasan" userId="92968fce-d4dd-4b9e-8635-66a07c9f98a7" providerId="ADAL" clId="{3A6F4128-6482-4C75-8C7D-220A75826C22}"/>
    <pc:docChg chg="undo redo custSel mod addSld delSld modSld sldOrd modMainMaster">
      <pc:chgData name="Md Fahim Hasan" userId="92968fce-d4dd-4b9e-8635-66a07c9f98a7" providerId="ADAL" clId="{3A6F4128-6482-4C75-8C7D-220A75826C22}" dt="2023-08-01T16:32:09.940" v="40872" actId="20577"/>
      <pc:docMkLst>
        <pc:docMk/>
      </pc:docMkLst>
      <pc:sldChg chg="delSp modSp mod setBg delDesignElem">
        <pc:chgData name="Md Fahim Hasan" userId="92968fce-d4dd-4b9e-8635-66a07c9f98a7" providerId="ADAL" clId="{3A6F4128-6482-4C75-8C7D-220A75826C22}" dt="2023-07-28T16:15:25.610" v="38261" actId="20577"/>
        <pc:sldMkLst>
          <pc:docMk/>
          <pc:sldMk cId="2057978156" sldId="256"/>
        </pc:sldMkLst>
        <pc:spChg chg="mod">
          <ac:chgData name="Md Fahim Hasan" userId="92968fce-d4dd-4b9e-8635-66a07c9f98a7" providerId="ADAL" clId="{3A6F4128-6482-4C75-8C7D-220A75826C22}" dt="2023-07-26T17:10:59.013" v="21799" actId="20577"/>
          <ac:spMkLst>
            <pc:docMk/>
            <pc:sldMk cId="2057978156" sldId="256"/>
            <ac:spMk id="3" creationId="{38F72305-8CA3-1450-F878-0014A899FB3E}"/>
          </ac:spMkLst>
        </pc:spChg>
        <pc:spChg chg="mod">
          <ac:chgData name="Md Fahim Hasan" userId="92968fce-d4dd-4b9e-8635-66a07c9f98a7" providerId="ADAL" clId="{3A6F4128-6482-4C75-8C7D-220A75826C22}" dt="2023-07-28T16:15:25.610" v="38261" actId="20577"/>
          <ac:spMkLst>
            <pc:docMk/>
            <pc:sldMk cId="2057978156" sldId="256"/>
            <ac:spMk id="5" creationId="{86E3427F-CEA6-580F-2887-D38E7EF0BF56}"/>
          </ac:spMkLst>
        </pc:spChg>
        <pc:spChg chg="del">
          <ac:chgData name="Md Fahim Hasan" userId="92968fce-d4dd-4b9e-8635-66a07c9f98a7" providerId="ADAL" clId="{3A6F4128-6482-4C75-8C7D-220A75826C22}" dt="2023-07-27T15:51:58.279" v="35706"/>
          <ac:spMkLst>
            <pc:docMk/>
            <pc:sldMk cId="2057978156" sldId="256"/>
            <ac:spMk id="31" creationId="{3C54F4CE-85F0-46ED-80DA-9518C9251AD1}"/>
          </ac:spMkLst>
        </pc:spChg>
        <pc:spChg chg="del">
          <ac:chgData name="Md Fahim Hasan" userId="92968fce-d4dd-4b9e-8635-66a07c9f98a7" providerId="ADAL" clId="{3A6F4128-6482-4C75-8C7D-220A75826C22}" dt="2023-07-27T15:51:58.279" v="35706"/>
          <ac:spMkLst>
            <pc:docMk/>
            <pc:sldMk cId="2057978156" sldId="256"/>
            <ac:spMk id="33" creationId="{DADD1FCA-8ACB-4958-81DD-4CDD6D3E1921}"/>
          </ac:spMkLst>
        </pc:spChg>
      </pc:sldChg>
      <pc:sldChg chg="addSp delSp modSp del mod ord setBg">
        <pc:chgData name="Md Fahim Hasan" userId="92968fce-d4dd-4b9e-8635-66a07c9f98a7" providerId="ADAL" clId="{3A6F4128-6482-4C75-8C7D-220A75826C22}" dt="2023-07-20T19:35:21.865" v="9826" actId="47"/>
        <pc:sldMkLst>
          <pc:docMk/>
          <pc:sldMk cId="1373699450" sldId="259"/>
        </pc:sldMkLst>
        <pc:spChg chg="mod ord">
          <ac:chgData name="Md Fahim Hasan" userId="92968fce-d4dd-4b9e-8635-66a07c9f98a7" providerId="ADAL" clId="{3A6F4128-6482-4C75-8C7D-220A75826C22}" dt="2023-07-20T19:23:19.991" v="9675" actId="1076"/>
          <ac:spMkLst>
            <pc:docMk/>
            <pc:sldMk cId="1373699450" sldId="259"/>
            <ac:spMk id="2" creationId="{3686BA84-DCD5-9E45-57C1-47E4B920DEDD}"/>
          </ac:spMkLst>
        </pc:spChg>
        <pc:spChg chg="mod ord">
          <ac:chgData name="Md Fahim Hasan" userId="92968fce-d4dd-4b9e-8635-66a07c9f98a7" providerId="ADAL" clId="{3A6F4128-6482-4C75-8C7D-220A75826C22}" dt="2023-07-20T19:29:41.029" v="9763" actId="6549"/>
          <ac:spMkLst>
            <pc:docMk/>
            <pc:sldMk cId="1373699450" sldId="259"/>
            <ac:spMk id="3" creationId="{38F72305-8CA3-1450-F878-0014A899FB3E}"/>
          </ac:spMkLst>
        </pc:spChg>
        <pc:spChg chg="add del mod">
          <ac:chgData name="Md Fahim Hasan" userId="92968fce-d4dd-4b9e-8635-66a07c9f98a7" providerId="ADAL" clId="{3A6F4128-6482-4C75-8C7D-220A75826C22}" dt="2023-07-20T19:16:17.210" v="9655" actId="478"/>
          <ac:spMkLst>
            <pc:docMk/>
            <pc:sldMk cId="1373699450" sldId="259"/>
            <ac:spMk id="4" creationId="{3B5A11F5-28B3-EF2C-2A85-24179FD41055}"/>
          </ac:spMkLst>
        </pc:spChg>
        <pc:spChg chg="add mod">
          <ac:chgData name="Md Fahim Hasan" userId="92968fce-d4dd-4b9e-8635-66a07c9f98a7" providerId="ADAL" clId="{3A6F4128-6482-4C75-8C7D-220A75826C22}" dt="2023-07-20T19:29:16.310" v="9750" actId="1076"/>
          <ac:spMkLst>
            <pc:docMk/>
            <pc:sldMk cId="1373699450" sldId="259"/>
            <ac:spMk id="15" creationId="{3C5E509B-1B50-82FD-877E-DF1A82BB7B4C}"/>
          </ac:spMkLst>
        </pc:spChg>
        <pc:spChg chg="add mod">
          <ac:chgData name="Md Fahim Hasan" userId="92968fce-d4dd-4b9e-8635-66a07c9f98a7" providerId="ADAL" clId="{3A6F4128-6482-4C75-8C7D-220A75826C22}" dt="2023-07-20T19:29:07.892" v="9749" actId="1076"/>
          <ac:spMkLst>
            <pc:docMk/>
            <pc:sldMk cId="1373699450" sldId="259"/>
            <ac:spMk id="16" creationId="{6A2F8CDB-E476-7974-94B4-E318E98C579E}"/>
          </ac:spMkLst>
        </pc:spChg>
        <pc:spChg chg="add mod">
          <ac:chgData name="Md Fahim Hasan" userId="92968fce-d4dd-4b9e-8635-66a07c9f98a7" providerId="ADAL" clId="{3A6F4128-6482-4C75-8C7D-220A75826C22}" dt="2023-07-20T19:28:48.852" v="9745" actId="1076"/>
          <ac:spMkLst>
            <pc:docMk/>
            <pc:sldMk cId="1373699450" sldId="259"/>
            <ac:spMk id="17" creationId="{64ACF38C-7BF3-972D-D497-E52192A9321B}"/>
          </ac:spMkLst>
        </pc:spChg>
        <pc:spChg chg="add del">
          <ac:chgData name="Md Fahim Hasan" userId="92968fce-d4dd-4b9e-8635-66a07c9f98a7" providerId="ADAL" clId="{3A6F4128-6482-4C75-8C7D-220A75826C22}" dt="2023-07-20T19:22:57.465" v="9670" actId="26606"/>
          <ac:spMkLst>
            <pc:docMk/>
            <pc:sldMk cId="1373699450" sldId="259"/>
            <ac:spMk id="19" creationId="{A26C624C-963C-4795-B05B-6565DB5ABD39}"/>
          </ac:spMkLst>
        </pc:spChg>
        <pc:spChg chg="add">
          <ac:chgData name="Md Fahim Hasan" userId="92968fce-d4dd-4b9e-8635-66a07c9f98a7" providerId="ADAL" clId="{3A6F4128-6482-4C75-8C7D-220A75826C22}" dt="2023-07-20T19:23:02.623" v="9673" actId="26606"/>
          <ac:spMkLst>
            <pc:docMk/>
            <pc:sldMk cId="1373699450" sldId="259"/>
            <ac:spMk id="30" creationId="{2F4D5922-434B-4829-B93E-02DC38A29519}"/>
          </ac:spMkLst>
        </pc:spChg>
        <pc:spChg chg="add">
          <ac:chgData name="Md Fahim Hasan" userId="92968fce-d4dd-4b9e-8635-66a07c9f98a7" providerId="ADAL" clId="{3A6F4128-6482-4C75-8C7D-220A75826C22}" dt="2023-07-20T19:23:02.623" v="9673" actId="26606"/>
          <ac:spMkLst>
            <pc:docMk/>
            <pc:sldMk cId="1373699450" sldId="259"/>
            <ac:spMk id="36" creationId="{F35FBA24-5C01-4635-A984-1DB6E340B052}"/>
          </ac:spMkLst>
        </pc:spChg>
        <pc:spChg chg="add">
          <ac:chgData name="Md Fahim Hasan" userId="92968fce-d4dd-4b9e-8635-66a07c9f98a7" providerId="ADAL" clId="{3A6F4128-6482-4C75-8C7D-220A75826C22}" dt="2023-07-20T19:23:02.623" v="9673" actId="26606"/>
          <ac:spMkLst>
            <pc:docMk/>
            <pc:sldMk cId="1373699450" sldId="259"/>
            <ac:spMk id="37" creationId="{5819102A-0400-4C1F-8614-973F5262EF56}"/>
          </ac:spMkLst>
        </pc:spChg>
        <pc:spChg chg="add mod">
          <ac:chgData name="Md Fahim Hasan" userId="92968fce-d4dd-4b9e-8635-66a07c9f98a7" providerId="ADAL" clId="{3A6F4128-6482-4C75-8C7D-220A75826C22}" dt="2023-07-20T19:29:34.256" v="9762" actId="1076"/>
          <ac:spMkLst>
            <pc:docMk/>
            <pc:sldMk cId="1373699450" sldId="259"/>
            <ac:spMk id="38" creationId="{DF579EC8-B48B-7DCE-5598-A9D02BEC036C}"/>
          </ac:spMkLst>
        </pc:spChg>
        <pc:spChg chg="add">
          <ac:chgData name="Md Fahim Hasan" userId="92968fce-d4dd-4b9e-8635-66a07c9f98a7" providerId="ADAL" clId="{3A6F4128-6482-4C75-8C7D-220A75826C22}" dt="2023-07-20T19:23:02.623" v="9673" actId="26606"/>
          <ac:spMkLst>
            <pc:docMk/>
            <pc:sldMk cId="1373699450" sldId="259"/>
            <ac:spMk id="45" creationId="{CF1485CA-41D2-421F-B28D-15EF845D5FE6}"/>
          </ac:spMkLst>
        </pc:spChg>
        <pc:grpChg chg="add">
          <ac:chgData name="Md Fahim Hasan" userId="92968fce-d4dd-4b9e-8635-66a07c9f98a7" providerId="ADAL" clId="{3A6F4128-6482-4C75-8C7D-220A75826C22}" dt="2023-07-20T19:23:02.623" v="9673" actId="26606"/>
          <ac:grpSpMkLst>
            <pc:docMk/>
            <pc:sldMk cId="1373699450" sldId="259"/>
            <ac:grpSpMk id="23" creationId="{4008D52E-D5E0-4FB4-B605-C7CB34489056}"/>
          </ac:grpSpMkLst>
        </pc:grpChg>
        <pc:grpChg chg="add">
          <ac:chgData name="Md Fahim Hasan" userId="92968fce-d4dd-4b9e-8635-66a07c9f98a7" providerId="ADAL" clId="{3A6F4128-6482-4C75-8C7D-220A75826C22}" dt="2023-07-20T19:23:02.623" v="9673" actId="26606"/>
          <ac:grpSpMkLst>
            <pc:docMk/>
            <pc:sldMk cId="1373699450" sldId="259"/>
            <ac:grpSpMk id="31" creationId="{B7B4DECA-15C8-4678-96F8-1CA5C3D502E6}"/>
          </ac:grpSpMkLst>
        </pc:grpChg>
        <pc:grpChg chg="add">
          <ac:chgData name="Md Fahim Hasan" userId="92968fce-d4dd-4b9e-8635-66a07c9f98a7" providerId="ADAL" clId="{3A6F4128-6482-4C75-8C7D-220A75826C22}" dt="2023-07-20T19:23:02.623" v="9673" actId="26606"/>
          <ac:grpSpMkLst>
            <pc:docMk/>
            <pc:sldMk cId="1373699450" sldId="259"/>
            <ac:grpSpMk id="39" creationId="{B1A0CF5C-68C2-4432-BC2D-5A124C7B6043}"/>
          </ac:grpSpMkLst>
        </pc:grpChg>
        <pc:grpChg chg="add">
          <ac:chgData name="Md Fahim Hasan" userId="92968fce-d4dd-4b9e-8635-66a07c9f98a7" providerId="ADAL" clId="{3A6F4128-6482-4C75-8C7D-220A75826C22}" dt="2023-07-20T19:23:02.623" v="9673" actId="26606"/>
          <ac:grpSpMkLst>
            <pc:docMk/>
            <pc:sldMk cId="1373699450" sldId="259"/>
            <ac:grpSpMk id="47" creationId="{04ED96A1-E6CA-493F-8610-6B8B7A28E3EB}"/>
          </ac:grpSpMkLst>
        </pc:grpChg>
        <pc:picChg chg="add del">
          <ac:chgData name="Md Fahim Hasan" userId="92968fce-d4dd-4b9e-8635-66a07c9f98a7" providerId="ADAL" clId="{3A6F4128-6482-4C75-8C7D-220A75826C22}" dt="2023-07-20T19:18:03.295" v="9657" actId="478"/>
          <ac:picMkLst>
            <pc:docMk/>
            <pc:sldMk cId="1373699450" sldId="259"/>
            <ac:picMk id="6" creationId="{ED6BDE0D-B7F3-5C57-291E-B9E2B53F06DB}"/>
          </ac:picMkLst>
        </pc:picChg>
        <pc:picChg chg="add mod ord">
          <ac:chgData name="Md Fahim Hasan" userId="92968fce-d4dd-4b9e-8635-66a07c9f98a7" providerId="ADAL" clId="{3A6F4128-6482-4C75-8C7D-220A75826C22}" dt="2023-07-20T19:29:16.310" v="9750" actId="1076"/>
          <ac:picMkLst>
            <pc:docMk/>
            <pc:sldMk cId="1373699450" sldId="259"/>
            <ac:picMk id="8" creationId="{53418779-EB83-62E7-330C-11D82F4FB1BA}"/>
          </ac:picMkLst>
        </pc:picChg>
        <pc:picChg chg="add mod">
          <ac:chgData name="Md Fahim Hasan" userId="92968fce-d4dd-4b9e-8635-66a07c9f98a7" providerId="ADAL" clId="{3A6F4128-6482-4C75-8C7D-220A75826C22}" dt="2023-07-20T19:28:12.722" v="9722" actId="1076"/>
          <ac:picMkLst>
            <pc:docMk/>
            <pc:sldMk cId="1373699450" sldId="259"/>
            <ac:picMk id="10" creationId="{7D8CD268-78BD-8AC8-5D91-9D34C6BC856F}"/>
          </ac:picMkLst>
        </pc:picChg>
        <pc:picChg chg="add mod">
          <ac:chgData name="Md Fahim Hasan" userId="92968fce-d4dd-4b9e-8635-66a07c9f98a7" providerId="ADAL" clId="{3A6F4128-6482-4C75-8C7D-220A75826C22}" dt="2023-07-20T19:28:12.722" v="9722" actId="1076"/>
          <ac:picMkLst>
            <pc:docMk/>
            <pc:sldMk cId="1373699450" sldId="259"/>
            <ac:picMk id="12" creationId="{5DC52CAF-009F-0F2E-6D18-9CEF6CEE2A05}"/>
          </ac:picMkLst>
        </pc:picChg>
        <pc:picChg chg="add mod ord">
          <ac:chgData name="Md Fahim Hasan" userId="92968fce-d4dd-4b9e-8635-66a07c9f98a7" providerId="ADAL" clId="{3A6F4128-6482-4C75-8C7D-220A75826C22}" dt="2023-07-20T19:29:07.892" v="9749" actId="1076"/>
          <ac:picMkLst>
            <pc:docMk/>
            <pc:sldMk cId="1373699450" sldId="259"/>
            <ac:picMk id="14" creationId="{F3003A44-D40C-5E74-726F-5E1CDD0BC22C}"/>
          </ac:picMkLst>
        </pc:picChg>
        <pc:picChg chg="add del mod">
          <ac:chgData name="Md Fahim Hasan" userId="92968fce-d4dd-4b9e-8635-66a07c9f98a7" providerId="ADAL" clId="{3A6F4128-6482-4C75-8C7D-220A75826C22}" dt="2023-07-20T19:27:59.025" v="9720" actId="478"/>
          <ac:picMkLst>
            <pc:docMk/>
            <pc:sldMk cId="1373699450" sldId="259"/>
            <ac:picMk id="20" creationId="{CB503C35-4537-BB06-ED4E-11E4E7BEF4AF}"/>
          </ac:picMkLst>
        </pc:picChg>
        <pc:picChg chg="add del mod">
          <ac:chgData name="Md Fahim Hasan" userId="92968fce-d4dd-4b9e-8635-66a07c9f98a7" providerId="ADAL" clId="{3A6F4128-6482-4C75-8C7D-220A75826C22}" dt="2023-07-20T19:28:44.231" v="9744" actId="478"/>
          <ac:picMkLst>
            <pc:docMk/>
            <pc:sldMk cId="1373699450" sldId="259"/>
            <ac:picMk id="22" creationId="{11CE3659-C1D6-D53A-E6A7-428290056A34}"/>
          </ac:picMkLst>
        </pc:picChg>
        <pc:cxnChg chg="add del">
          <ac:chgData name="Md Fahim Hasan" userId="92968fce-d4dd-4b9e-8635-66a07c9f98a7" providerId="ADAL" clId="{3A6F4128-6482-4C75-8C7D-220A75826C22}" dt="2023-07-20T19:23:02.609" v="9672" actId="26606"/>
          <ac:cxnSpMkLst>
            <pc:docMk/>
            <pc:sldMk cId="1373699450" sldId="259"/>
            <ac:cxnSpMk id="21" creationId="{33FC4C9A-7760-08E3-AE1B-B5EBEC35F96C}"/>
          </ac:cxnSpMkLst>
        </pc:cxnChg>
      </pc:sldChg>
      <pc:sldChg chg="addSp delSp modSp mod delCm modCm">
        <pc:chgData name="Md Fahim Hasan" userId="92968fce-d4dd-4b9e-8635-66a07c9f98a7" providerId="ADAL" clId="{3A6F4128-6482-4C75-8C7D-220A75826C22}" dt="2023-07-27T15:51:58.279" v="35706"/>
        <pc:sldMkLst>
          <pc:docMk/>
          <pc:sldMk cId="4056719616" sldId="2146846337"/>
        </pc:sldMkLst>
        <pc:spChg chg="mod">
          <ac:chgData name="Md Fahim Hasan" userId="92968fce-d4dd-4b9e-8635-66a07c9f98a7" providerId="ADAL" clId="{3A6F4128-6482-4C75-8C7D-220A75826C22}" dt="2023-07-27T15:51:58.279" v="35706"/>
          <ac:spMkLst>
            <pc:docMk/>
            <pc:sldMk cId="4056719616" sldId="2146846337"/>
            <ac:spMk id="2" creationId="{9226B3AE-7380-1F6C-697A-E9637435E60D}"/>
          </ac:spMkLst>
        </pc:spChg>
        <pc:spChg chg="del">
          <ac:chgData name="Md Fahim Hasan" userId="92968fce-d4dd-4b9e-8635-66a07c9f98a7" providerId="ADAL" clId="{3A6F4128-6482-4C75-8C7D-220A75826C22}" dt="2023-07-21T15:15:22.210" v="10156" actId="478"/>
          <ac:spMkLst>
            <pc:docMk/>
            <pc:sldMk cId="4056719616" sldId="2146846337"/>
            <ac:spMk id="3" creationId="{3ACEEEF4-B14A-AA4F-8119-DDD2F2C82E21}"/>
          </ac:spMkLst>
        </pc:spChg>
        <pc:spChg chg="add mod">
          <ac:chgData name="Md Fahim Hasan" userId="92968fce-d4dd-4b9e-8635-66a07c9f98a7" providerId="ADAL" clId="{3A6F4128-6482-4C75-8C7D-220A75826C22}" dt="2023-07-25T21:23:03.894" v="21193" actId="1076"/>
          <ac:spMkLst>
            <pc:docMk/>
            <pc:sldMk cId="4056719616" sldId="2146846337"/>
            <ac:spMk id="4" creationId="{FD0EF38E-D7C0-8E63-A04B-1205873730B2}"/>
          </ac:spMkLst>
        </pc:spChg>
        <pc:spChg chg="add mod">
          <ac:chgData name="Md Fahim Hasan" userId="92968fce-d4dd-4b9e-8635-66a07c9f98a7" providerId="ADAL" clId="{3A6F4128-6482-4C75-8C7D-220A75826C22}" dt="2023-07-25T21:27:05.374" v="21233" actId="164"/>
          <ac:spMkLst>
            <pc:docMk/>
            <pc:sldMk cId="4056719616" sldId="2146846337"/>
            <ac:spMk id="6" creationId="{FAD07682-E61D-F63A-2D0E-D6CB339D623A}"/>
          </ac:spMkLst>
        </pc:spChg>
        <pc:spChg chg="mod">
          <ac:chgData name="Md Fahim Hasan" userId="92968fce-d4dd-4b9e-8635-66a07c9f98a7" providerId="ADAL" clId="{3A6F4128-6482-4C75-8C7D-220A75826C22}" dt="2023-07-25T21:23:04.223" v="21194" actId="14100"/>
          <ac:spMkLst>
            <pc:docMk/>
            <pc:sldMk cId="4056719616" sldId="2146846337"/>
            <ac:spMk id="10" creationId="{F6E243F7-F258-1A63-610D-FF7CD8668613}"/>
          </ac:spMkLst>
        </pc:spChg>
        <pc:spChg chg="mod">
          <ac:chgData name="Md Fahim Hasan" userId="92968fce-d4dd-4b9e-8635-66a07c9f98a7" providerId="ADAL" clId="{3A6F4128-6482-4C75-8C7D-220A75826C22}" dt="2023-07-25T21:28:00.330" v="21237" actId="1076"/>
          <ac:spMkLst>
            <pc:docMk/>
            <pc:sldMk cId="4056719616" sldId="2146846337"/>
            <ac:spMk id="12" creationId="{4B44160A-35FD-F0D1-8CB5-8BC0B618E421}"/>
          </ac:spMkLst>
        </pc:spChg>
        <pc:spChg chg="add mod">
          <ac:chgData name="Md Fahim Hasan" userId="92968fce-d4dd-4b9e-8635-66a07c9f98a7" providerId="ADAL" clId="{3A6F4128-6482-4C75-8C7D-220A75826C22}" dt="2023-07-25T21:28:09.090" v="21239" actId="1076"/>
          <ac:spMkLst>
            <pc:docMk/>
            <pc:sldMk cId="4056719616" sldId="2146846337"/>
            <ac:spMk id="13" creationId="{D2E8F959-A480-C597-DD32-378E99CD7A2C}"/>
          </ac:spMkLst>
        </pc:spChg>
        <pc:grpChg chg="add del mod">
          <ac:chgData name="Md Fahim Hasan" userId="92968fce-d4dd-4b9e-8635-66a07c9f98a7" providerId="ADAL" clId="{3A6F4128-6482-4C75-8C7D-220A75826C22}" dt="2023-07-25T21:28:11.003" v="21240" actId="478"/>
          <ac:grpSpMkLst>
            <pc:docMk/>
            <pc:sldMk cId="4056719616" sldId="2146846337"/>
            <ac:grpSpMk id="7" creationId="{A8C9048A-F0C7-41A4-B952-772062A0EF25}"/>
          </ac:grpSpMkLst>
        </pc:grpChg>
        <pc:picChg chg="add mod">
          <ac:chgData name="Md Fahim Hasan" userId="92968fce-d4dd-4b9e-8635-66a07c9f98a7" providerId="ADAL" clId="{3A6F4128-6482-4C75-8C7D-220A75826C22}" dt="2023-07-25T21:27:05.374" v="21233" actId="164"/>
          <ac:picMkLst>
            <pc:docMk/>
            <pc:sldMk cId="4056719616" sldId="2146846337"/>
            <ac:picMk id="5" creationId="{41FB168F-9F1E-29DF-CD87-BC5E7A154ECD}"/>
          </ac:picMkLst>
        </pc:picChg>
        <pc:picChg chg="add mod">
          <ac:chgData name="Md Fahim Hasan" userId="92968fce-d4dd-4b9e-8635-66a07c9f98a7" providerId="ADAL" clId="{3A6F4128-6482-4C75-8C7D-220A75826C22}" dt="2023-07-25T21:27:53.774" v="21235" actId="1076"/>
          <ac:picMkLst>
            <pc:docMk/>
            <pc:sldMk cId="4056719616" sldId="2146846337"/>
            <ac:picMk id="8" creationId="{92A438D3-297D-DDD8-9B6E-2B42DB4D6F67}"/>
          </ac:picMkLst>
        </pc:picChg>
        <pc:picChg chg="mod">
          <ac:chgData name="Md Fahim Hasan" userId="92968fce-d4dd-4b9e-8635-66a07c9f98a7" providerId="ADAL" clId="{3A6F4128-6482-4C75-8C7D-220A75826C22}" dt="2023-07-25T21:26:22.443" v="21231" actId="1076"/>
          <ac:picMkLst>
            <pc:docMk/>
            <pc:sldMk cId="4056719616" sldId="2146846337"/>
            <ac:picMk id="11" creationId="{C71F36C9-62E2-BE13-D383-44EC0D0F1953}"/>
          </ac:picMkLst>
        </pc:picChg>
      </pc:sldChg>
      <pc:sldChg chg="del">
        <pc:chgData name="Md Fahim Hasan" userId="92968fce-d4dd-4b9e-8635-66a07c9f98a7" providerId="ADAL" clId="{3A6F4128-6482-4C75-8C7D-220A75826C22}" dt="2023-07-18T17:25:56.985" v="4139" actId="47"/>
        <pc:sldMkLst>
          <pc:docMk/>
          <pc:sldMk cId="630555002" sldId="2146846380"/>
        </pc:sldMkLst>
      </pc:sldChg>
      <pc:sldChg chg="del">
        <pc:chgData name="Md Fahim Hasan" userId="92968fce-d4dd-4b9e-8635-66a07c9f98a7" providerId="ADAL" clId="{3A6F4128-6482-4C75-8C7D-220A75826C22}" dt="2023-07-18T17:25:57.975" v="4140" actId="47"/>
        <pc:sldMkLst>
          <pc:docMk/>
          <pc:sldMk cId="2262878493" sldId="2146846381"/>
        </pc:sldMkLst>
      </pc:sldChg>
      <pc:sldChg chg="addSp delSp modSp mod delDesignElem">
        <pc:chgData name="Md Fahim Hasan" userId="92968fce-d4dd-4b9e-8635-66a07c9f98a7" providerId="ADAL" clId="{3A6F4128-6482-4C75-8C7D-220A75826C22}" dt="2023-07-28T17:34:35.403" v="39050" actId="20577"/>
        <pc:sldMkLst>
          <pc:docMk/>
          <pc:sldMk cId="592699982" sldId="2146846382"/>
        </pc:sldMkLst>
        <pc:spChg chg="mod">
          <ac:chgData name="Md Fahim Hasan" userId="92968fce-d4dd-4b9e-8635-66a07c9f98a7" providerId="ADAL" clId="{3A6F4128-6482-4C75-8C7D-220A75826C22}" dt="2023-07-27T15:51:58.279" v="35706"/>
          <ac:spMkLst>
            <pc:docMk/>
            <pc:sldMk cId="592699982" sldId="2146846382"/>
            <ac:spMk id="2" creationId="{50D7F7E2-05E6-E2B8-455A-1E18E17C21ED}"/>
          </ac:spMkLst>
        </pc:spChg>
        <pc:spChg chg="add mod ord">
          <ac:chgData name="Md Fahim Hasan" userId="92968fce-d4dd-4b9e-8635-66a07c9f98a7" providerId="ADAL" clId="{3A6F4128-6482-4C75-8C7D-220A75826C22}" dt="2023-07-27T15:57:07.816" v="35742" actId="167"/>
          <ac:spMkLst>
            <pc:docMk/>
            <pc:sldMk cId="592699982" sldId="2146846382"/>
            <ac:spMk id="3" creationId="{13F62010-37D9-C1F3-FE48-1F9FC4001FF9}"/>
          </ac:spMkLst>
        </pc:spChg>
        <pc:spChg chg="del">
          <ac:chgData name="Md Fahim Hasan" userId="92968fce-d4dd-4b9e-8635-66a07c9f98a7" providerId="ADAL" clId="{3A6F4128-6482-4C75-8C7D-220A75826C22}" dt="2023-07-21T15:15:25.391" v="10157" actId="478"/>
          <ac:spMkLst>
            <pc:docMk/>
            <pc:sldMk cId="592699982" sldId="2146846382"/>
            <ac:spMk id="3" creationId="{3ACEEEF4-B14A-AA4F-8119-DDD2F2C82E21}"/>
          </ac:spMkLst>
        </pc:spChg>
        <pc:spChg chg="mod">
          <ac:chgData name="Md Fahim Hasan" userId="92968fce-d4dd-4b9e-8635-66a07c9f98a7" providerId="ADAL" clId="{3A6F4128-6482-4C75-8C7D-220A75826C22}" dt="2023-07-28T17:34:35.403" v="39050" actId="20577"/>
          <ac:spMkLst>
            <pc:docMk/>
            <pc:sldMk cId="592699982" sldId="2146846382"/>
            <ac:spMk id="5" creationId="{6B0E3D4A-AE11-4EEE-47A3-F08F39D0D674}"/>
          </ac:spMkLst>
        </pc:spChg>
        <pc:spChg chg="mod">
          <ac:chgData name="Md Fahim Hasan" userId="92968fce-d4dd-4b9e-8635-66a07c9f98a7" providerId="ADAL" clId="{3A6F4128-6482-4C75-8C7D-220A75826C22}" dt="2023-07-27T15:57:40.983" v="35752" actId="1076"/>
          <ac:spMkLst>
            <pc:docMk/>
            <pc:sldMk cId="592699982" sldId="2146846382"/>
            <ac:spMk id="9" creationId="{DCE765C9-F866-A10C-05BC-B0F5CF7D4FA9}"/>
          </ac:spMkLst>
        </pc:spChg>
        <pc:spChg chg="del">
          <ac:chgData name="Md Fahim Hasan" userId="92968fce-d4dd-4b9e-8635-66a07c9f98a7" providerId="ADAL" clId="{3A6F4128-6482-4C75-8C7D-220A75826C22}" dt="2023-07-27T15:51:58.279" v="35706"/>
          <ac:spMkLst>
            <pc:docMk/>
            <pc:sldMk cId="592699982" sldId="2146846382"/>
            <ac:spMk id="14" creationId="{17718681-A12E-49D6-9925-DD7C68176D61}"/>
          </ac:spMkLst>
        </pc:spChg>
        <pc:spChg chg="del">
          <ac:chgData name="Md Fahim Hasan" userId="92968fce-d4dd-4b9e-8635-66a07c9f98a7" providerId="ADAL" clId="{3A6F4128-6482-4C75-8C7D-220A75826C22}" dt="2023-07-27T15:51:58.279" v="35706"/>
          <ac:spMkLst>
            <pc:docMk/>
            <pc:sldMk cId="592699982" sldId="2146846382"/>
            <ac:spMk id="16" creationId="{FBD77573-9EF2-4C35-8285-A1CF6FBB0EA5}"/>
          </ac:spMkLst>
        </pc:spChg>
        <pc:picChg chg="add mod">
          <ac:chgData name="Md Fahim Hasan" userId="92968fce-d4dd-4b9e-8635-66a07c9f98a7" providerId="ADAL" clId="{3A6F4128-6482-4C75-8C7D-220A75826C22}" dt="2023-07-27T15:57:27.214" v="35747"/>
          <ac:picMkLst>
            <pc:docMk/>
            <pc:sldMk cId="592699982" sldId="2146846382"/>
            <ac:picMk id="4" creationId="{A6D044A4-BBE0-F9D4-D169-45AA3B58918D}"/>
          </ac:picMkLst>
        </pc:picChg>
        <pc:picChg chg="del mod">
          <ac:chgData name="Md Fahim Hasan" userId="92968fce-d4dd-4b9e-8635-66a07c9f98a7" providerId="ADAL" clId="{3A6F4128-6482-4C75-8C7D-220A75826C22}" dt="2023-07-27T15:53:17.744" v="35717" actId="478"/>
          <ac:picMkLst>
            <pc:docMk/>
            <pc:sldMk cId="592699982" sldId="2146846382"/>
            <ac:picMk id="15" creationId="{B0F7B2C1-02FD-AB52-1E28-5A1C0EE1123A}"/>
          </ac:picMkLst>
        </pc:picChg>
      </pc:sldChg>
      <pc:sldChg chg="addSp delSp modSp mod ord delAnim modAnim delCm modCm modNotesTx">
        <pc:chgData name="Md Fahim Hasan" userId="92968fce-d4dd-4b9e-8635-66a07c9f98a7" providerId="ADAL" clId="{3A6F4128-6482-4C75-8C7D-220A75826C22}" dt="2023-08-01T14:32:40.613" v="40350" actId="20577"/>
        <pc:sldMkLst>
          <pc:docMk/>
          <pc:sldMk cId="3666602129" sldId="2146846383"/>
        </pc:sldMkLst>
        <pc:spChg chg="del">
          <ac:chgData name="Md Fahim Hasan" userId="92968fce-d4dd-4b9e-8635-66a07c9f98a7" providerId="ADAL" clId="{3A6F4128-6482-4C75-8C7D-220A75826C22}" dt="2023-07-21T15:15:15.733" v="10155" actId="478"/>
          <ac:spMkLst>
            <pc:docMk/>
            <pc:sldMk cId="3666602129" sldId="2146846383"/>
            <ac:spMk id="3" creationId="{3ACEEEF4-B14A-AA4F-8119-DDD2F2C82E21}"/>
          </ac:spMkLst>
        </pc:spChg>
        <pc:spChg chg="add mod">
          <ac:chgData name="Md Fahim Hasan" userId="92968fce-d4dd-4b9e-8635-66a07c9f98a7" providerId="ADAL" clId="{3A6F4128-6482-4C75-8C7D-220A75826C22}" dt="2023-07-27T20:41:17.337" v="38078" actId="1076"/>
          <ac:spMkLst>
            <pc:docMk/>
            <pc:sldMk cId="3666602129" sldId="2146846383"/>
            <ac:spMk id="3" creationId="{47362F07-4913-5AB4-655D-190F6C4B7BB8}"/>
          </ac:spMkLst>
        </pc:spChg>
        <pc:spChg chg="mod">
          <ac:chgData name="Md Fahim Hasan" userId="92968fce-d4dd-4b9e-8635-66a07c9f98a7" providerId="ADAL" clId="{3A6F4128-6482-4C75-8C7D-220A75826C22}" dt="2023-07-27T15:51:58.279" v="35706"/>
          <ac:spMkLst>
            <pc:docMk/>
            <pc:sldMk cId="3666602129" sldId="2146846383"/>
            <ac:spMk id="4" creationId="{6CE70B44-3ABA-966C-1037-341F0E51DA50}"/>
          </ac:spMkLst>
        </pc:spChg>
        <pc:spChg chg="del mod">
          <ac:chgData name="Md Fahim Hasan" userId="92968fce-d4dd-4b9e-8635-66a07c9f98a7" providerId="ADAL" clId="{3A6F4128-6482-4C75-8C7D-220A75826C22}" dt="2023-07-21T19:17:19.485" v="12122" actId="478"/>
          <ac:spMkLst>
            <pc:docMk/>
            <pc:sldMk cId="3666602129" sldId="2146846383"/>
            <ac:spMk id="5" creationId="{6B0E3D4A-AE11-4EEE-47A3-F08F39D0D674}"/>
          </ac:spMkLst>
        </pc:spChg>
        <pc:spChg chg="mod">
          <ac:chgData name="Md Fahim Hasan" userId="92968fce-d4dd-4b9e-8635-66a07c9f98a7" providerId="ADAL" clId="{3A6F4128-6482-4C75-8C7D-220A75826C22}" dt="2023-07-31T20:32:49.013" v="39269" actId="12"/>
          <ac:spMkLst>
            <pc:docMk/>
            <pc:sldMk cId="3666602129" sldId="2146846383"/>
            <ac:spMk id="8" creationId="{B6129EBB-5BBC-0496-43B1-E5DD89BBC166}"/>
          </ac:spMkLst>
        </pc:spChg>
        <pc:spChg chg="mod">
          <ac:chgData name="Md Fahim Hasan" userId="92968fce-d4dd-4b9e-8635-66a07c9f98a7" providerId="ADAL" clId="{3A6F4128-6482-4C75-8C7D-220A75826C22}" dt="2023-07-25T18:44:08.454" v="18925" actId="1076"/>
          <ac:spMkLst>
            <pc:docMk/>
            <pc:sldMk cId="3666602129" sldId="2146846383"/>
            <ac:spMk id="9" creationId="{DCE765C9-F866-A10C-05BC-B0F5CF7D4FA9}"/>
          </ac:spMkLst>
        </pc:spChg>
        <pc:spChg chg="add mod">
          <ac:chgData name="Md Fahim Hasan" userId="92968fce-d4dd-4b9e-8635-66a07c9f98a7" providerId="ADAL" clId="{3A6F4128-6482-4C75-8C7D-220A75826C22}" dt="2023-07-25T18:43:20.031" v="18909" actId="1076"/>
          <ac:spMkLst>
            <pc:docMk/>
            <pc:sldMk cId="3666602129" sldId="2146846383"/>
            <ac:spMk id="10" creationId="{FD2BE369-0164-20DF-CE48-AEBDAC58B505}"/>
          </ac:spMkLst>
        </pc:spChg>
        <pc:spChg chg="mod">
          <ac:chgData name="Md Fahim Hasan" userId="92968fce-d4dd-4b9e-8635-66a07c9f98a7" providerId="ADAL" clId="{3A6F4128-6482-4C75-8C7D-220A75826C22}" dt="2023-07-27T20:41:26.597" v="38081" actId="1076"/>
          <ac:spMkLst>
            <pc:docMk/>
            <pc:sldMk cId="3666602129" sldId="2146846383"/>
            <ac:spMk id="14" creationId="{B9F5EBE5-BF4F-6602-E462-2A211297793D}"/>
          </ac:spMkLst>
        </pc:spChg>
        <pc:grpChg chg="add mod">
          <ac:chgData name="Md Fahim Hasan" userId="92968fce-d4dd-4b9e-8635-66a07c9f98a7" providerId="ADAL" clId="{3A6F4128-6482-4C75-8C7D-220A75826C22}" dt="2023-07-25T18:42:52.611" v="18907" actId="1076"/>
          <ac:grpSpMkLst>
            <pc:docMk/>
            <pc:sldMk cId="3666602129" sldId="2146846383"/>
            <ac:grpSpMk id="11" creationId="{A0E860F0-76C5-0E31-CEEB-C002D6CBA973}"/>
          </ac:grpSpMkLst>
        </pc:grpChg>
        <pc:graphicFrameChg chg="mod">
          <ac:chgData name="Md Fahim Hasan" userId="92968fce-d4dd-4b9e-8635-66a07c9f98a7" providerId="ADAL" clId="{3A6F4128-6482-4C75-8C7D-220A75826C22}" dt="2023-07-27T20:40:59.395" v="38076" actId="1076"/>
          <ac:graphicFrameMkLst>
            <pc:docMk/>
            <pc:sldMk cId="3666602129" sldId="2146846383"/>
            <ac:graphicFrameMk id="15" creationId="{A1F61D02-76F0-6BAF-2680-6342F5A3100A}"/>
          </ac:graphicFrameMkLst>
        </pc:graphicFrameChg>
        <pc:picChg chg="mod">
          <ac:chgData name="Md Fahim Hasan" userId="92968fce-d4dd-4b9e-8635-66a07c9f98a7" providerId="ADAL" clId="{3A6F4128-6482-4C75-8C7D-220A75826C22}" dt="2023-07-27T20:40:54.494" v="38075" actId="1076"/>
          <ac:picMkLst>
            <pc:docMk/>
            <pc:sldMk cId="3666602129" sldId="2146846383"/>
            <ac:picMk id="2" creationId="{DF1611CB-1404-889A-3365-5AD7BC3A9770}"/>
          </ac:picMkLst>
        </pc:picChg>
        <pc:picChg chg="add del mod">
          <ac:chgData name="Md Fahim Hasan" userId="92968fce-d4dd-4b9e-8635-66a07c9f98a7" providerId="ADAL" clId="{3A6F4128-6482-4C75-8C7D-220A75826C22}" dt="2023-07-26T21:32:31.613" v="30758" actId="478"/>
          <ac:picMkLst>
            <pc:docMk/>
            <pc:sldMk cId="3666602129" sldId="2146846383"/>
            <ac:picMk id="6" creationId="{3D4B72DA-83E3-1427-A66F-4D9F6154FFD7}"/>
          </ac:picMkLst>
        </pc:picChg>
        <pc:cxnChg chg="add del mod">
          <ac:chgData name="Md Fahim Hasan" userId="92968fce-d4dd-4b9e-8635-66a07c9f98a7" providerId="ADAL" clId="{3A6F4128-6482-4C75-8C7D-220A75826C22}" dt="2023-07-25T18:38:50.997" v="18829" actId="478"/>
          <ac:cxnSpMkLst>
            <pc:docMk/>
            <pc:sldMk cId="3666602129" sldId="2146846383"/>
            <ac:cxnSpMk id="5" creationId="{2DB12273-C846-5081-22CC-3B884B8E9EFF}"/>
          </ac:cxnSpMkLst>
        </pc:cxnChg>
      </pc:sldChg>
      <pc:sldChg chg="addSp delSp modSp mod ord delAnim modAnim">
        <pc:chgData name="Md Fahim Hasan" userId="92968fce-d4dd-4b9e-8635-66a07c9f98a7" providerId="ADAL" clId="{3A6F4128-6482-4C75-8C7D-220A75826C22}" dt="2023-08-01T14:38:20.134" v="40506" actId="1036"/>
        <pc:sldMkLst>
          <pc:docMk/>
          <pc:sldMk cId="382852834" sldId="2146846384"/>
        </pc:sldMkLst>
        <pc:spChg chg="mod">
          <ac:chgData name="Md Fahim Hasan" userId="92968fce-d4dd-4b9e-8635-66a07c9f98a7" providerId="ADAL" clId="{3A6F4128-6482-4C75-8C7D-220A75826C22}" dt="2023-07-27T15:51:58.279" v="35706"/>
          <ac:spMkLst>
            <pc:docMk/>
            <pc:sldMk cId="382852834" sldId="2146846384"/>
            <ac:spMk id="2" creationId="{6D7FCBD6-1C98-E9CE-93C6-53AC8BC673C5}"/>
          </ac:spMkLst>
        </pc:spChg>
        <pc:spChg chg="del">
          <ac:chgData name="Md Fahim Hasan" userId="92968fce-d4dd-4b9e-8635-66a07c9f98a7" providerId="ADAL" clId="{3A6F4128-6482-4C75-8C7D-220A75826C22}" dt="2023-07-17T21:11:04.748" v="2" actId="478"/>
          <ac:spMkLst>
            <pc:docMk/>
            <pc:sldMk cId="382852834" sldId="2146846384"/>
            <ac:spMk id="3" creationId="{3ACEEEF4-B14A-AA4F-8119-DDD2F2C82E21}"/>
          </ac:spMkLst>
        </pc:spChg>
        <pc:spChg chg="add mod">
          <ac:chgData name="Md Fahim Hasan" userId="92968fce-d4dd-4b9e-8635-66a07c9f98a7" providerId="ADAL" clId="{3A6F4128-6482-4C75-8C7D-220A75826C22}" dt="2023-07-21T22:03:40.575" v="13025" actId="12"/>
          <ac:spMkLst>
            <pc:docMk/>
            <pc:sldMk cId="382852834" sldId="2146846384"/>
            <ac:spMk id="3" creationId="{7575AD2E-83F9-2C5A-1724-4025F6CB666E}"/>
          </ac:spMkLst>
        </pc:spChg>
        <pc:spChg chg="del mod">
          <ac:chgData name="Md Fahim Hasan" userId="92968fce-d4dd-4b9e-8635-66a07c9f98a7" providerId="ADAL" clId="{3A6F4128-6482-4C75-8C7D-220A75826C22}" dt="2023-07-21T21:53:54.769" v="12874" actId="478"/>
          <ac:spMkLst>
            <pc:docMk/>
            <pc:sldMk cId="382852834" sldId="2146846384"/>
            <ac:spMk id="4" creationId="{6E725962-AA6E-3764-10EC-09E349BF7BE0}"/>
          </ac:spMkLst>
        </pc:spChg>
        <pc:spChg chg="add mod">
          <ac:chgData name="Md Fahim Hasan" userId="92968fce-d4dd-4b9e-8635-66a07c9f98a7" providerId="ADAL" clId="{3A6F4128-6482-4C75-8C7D-220A75826C22}" dt="2023-07-21T21:55:33.071" v="12899" actId="14100"/>
          <ac:spMkLst>
            <pc:docMk/>
            <pc:sldMk cId="382852834" sldId="2146846384"/>
            <ac:spMk id="5" creationId="{640410B1-D6C8-6AE2-5E39-F609BCCB3287}"/>
          </ac:spMkLst>
        </pc:spChg>
        <pc:spChg chg="add mod">
          <ac:chgData name="Md Fahim Hasan" userId="92968fce-d4dd-4b9e-8635-66a07c9f98a7" providerId="ADAL" clId="{3A6F4128-6482-4C75-8C7D-220A75826C22}" dt="2023-07-21T21:55:43.978" v="12912" actId="14100"/>
          <ac:spMkLst>
            <pc:docMk/>
            <pc:sldMk cId="382852834" sldId="2146846384"/>
            <ac:spMk id="6" creationId="{9F9A0ECC-BAEC-B095-EED1-369C2A0B7EDA}"/>
          </ac:spMkLst>
        </pc:spChg>
        <pc:spChg chg="add mod">
          <ac:chgData name="Md Fahim Hasan" userId="92968fce-d4dd-4b9e-8635-66a07c9f98a7" providerId="ADAL" clId="{3A6F4128-6482-4C75-8C7D-220A75826C22}" dt="2023-07-21T21:56:13.152" v="12938" actId="1076"/>
          <ac:spMkLst>
            <pc:docMk/>
            <pc:sldMk cId="382852834" sldId="2146846384"/>
            <ac:spMk id="7" creationId="{B015396B-6D4A-2C99-FB34-AA10AE533509}"/>
          </ac:spMkLst>
        </pc:spChg>
        <pc:spChg chg="add mod">
          <ac:chgData name="Md Fahim Hasan" userId="92968fce-d4dd-4b9e-8635-66a07c9f98a7" providerId="ADAL" clId="{3A6F4128-6482-4C75-8C7D-220A75826C22}" dt="2023-07-21T21:56:44.134" v="12943" actId="1076"/>
          <ac:spMkLst>
            <pc:docMk/>
            <pc:sldMk cId="382852834" sldId="2146846384"/>
            <ac:spMk id="8" creationId="{CF231785-6F05-269A-2F8C-2DB42C31F01A}"/>
          </ac:spMkLst>
        </pc:spChg>
        <pc:spChg chg="mod">
          <ac:chgData name="Md Fahim Hasan" userId="92968fce-d4dd-4b9e-8635-66a07c9f98a7" providerId="ADAL" clId="{3A6F4128-6482-4C75-8C7D-220A75826C22}" dt="2023-07-17T21:22:54.506" v="528" actId="6549"/>
          <ac:spMkLst>
            <pc:docMk/>
            <pc:sldMk cId="382852834" sldId="2146846384"/>
            <ac:spMk id="9" creationId="{DCE765C9-F866-A10C-05BC-B0F5CF7D4FA9}"/>
          </ac:spMkLst>
        </pc:spChg>
        <pc:spChg chg="add mod">
          <ac:chgData name="Md Fahim Hasan" userId="92968fce-d4dd-4b9e-8635-66a07c9f98a7" providerId="ADAL" clId="{3A6F4128-6482-4C75-8C7D-220A75826C22}" dt="2023-07-21T21:57:26.453" v="12959" actId="1076"/>
          <ac:spMkLst>
            <pc:docMk/>
            <pc:sldMk cId="382852834" sldId="2146846384"/>
            <ac:spMk id="11" creationId="{4F9B9796-B12D-713F-746A-4DCA952B9304}"/>
          </ac:spMkLst>
        </pc:spChg>
        <pc:spChg chg="add del">
          <ac:chgData name="Md Fahim Hasan" userId="92968fce-d4dd-4b9e-8635-66a07c9f98a7" providerId="ADAL" clId="{3A6F4128-6482-4C75-8C7D-220A75826C22}" dt="2023-07-21T22:01:47.047" v="12972" actId="22"/>
          <ac:spMkLst>
            <pc:docMk/>
            <pc:sldMk cId="382852834" sldId="2146846384"/>
            <ac:spMk id="13" creationId="{2FF2589D-86C5-1B75-7B66-780265726430}"/>
          </ac:spMkLst>
        </pc:spChg>
        <pc:spChg chg="add mod">
          <ac:chgData name="Md Fahim Hasan" userId="92968fce-d4dd-4b9e-8635-66a07c9f98a7" providerId="ADAL" clId="{3A6F4128-6482-4C75-8C7D-220A75826C22}" dt="2023-07-21T22:01:53.893" v="12977" actId="20577"/>
          <ac:spMkLst>
            <pc:docMk/>
            <pc:sldMk cId="382852834" sldId="2146846384"/>
            <ac:spMk id="14" creationId="{38F4F4CD-DAF6-1AE9-31D8-3409B0EF1425}"/>
          </ac:spMkLst>
        </pc:spChg>
        <pc:spChg chg="add mod">
          <ac:chgData name="Md Fahim Hasan" userId="92968fce-d4dd-4b9e-8635-66a07c9f98a7" providerId="ADAL" clId="{3A6F4128-6482-4C75-8C7D-220A75826C22}" dt="2023-07-21T22:28:15.484" v="13467" actId="1076"/>
          <ac:spMkLst>
            <pc:docMk/>
            <pc:sldMk cId="382852834" sldId="2146846384"/>
            <ac:spMk id="15" creationId="{B7F74B15-FDF2-1E28-12D1-C3D9C93B4BAF}"/>
          </ac:spMkLst>
        </pc:spChg>
        <pc:spChg chg="del">
          <ac:chgData name="Md Fahim Hasan" userId="92968fce-d4dd-4b9e-8635-66a07c9f98a7" providerId="ADAL" clId="{3A6F4128-6482-4C75-8C7D-220A75826C22}" dt="2023-07-17T21:11:01.435" v="1" actId="478"/>
          <ac:spMkLst>
            <pc:docMk/>
            <pc:sldMk cId="382852834" sldId="2146846384"/>
            <ac:spMk id="48" creationId="{15E99825-C9AC-1D6E-A93B-EE359DEB615C}"/>
          </ac:spMkLst>
        </pc:spChg>
        <pc:spChg chg="del">
          <ac:chgData name="Md Fahim Hasan" userId="92968fce-d4dd-4b9e-8635-66a07c9f98a7" providerId="ADAL" clId="{3A6F4128-6482-4C75-8C7D-220A75826C22}" dt="2023-07-17T21:11:04.748" v="2" actId="478"/>
          <ac:spMkLst>
            <pc:docMk/>
            <pc:sldMk cId="382852834" sldId="2146846384"/>
            <ac:spMk id="51" creationId="{F0B8A31B-42FA-0224-8592-5D33531B2824}"/>
          </ac:spMkLst>
        </pc:spChg>
        <pc:spChg chg="add mod">
          <ac:chgData name="Md Fahim Hasan" userId="92968fce-d4dd-4b9e-8635-66a07c9f98a7" providerId="ADAL" clId="{3A6F4128-6482-4C75-8C7D-220A75826C22}" dt="2023-07-21T22:03:48.035" v="13026" actId="12"/>
          <ac:spMkLst>
            <pc:docMk/>
            <pc:sldMk cId="382852834" sldId="2146846384"/>
            <ac:spMk id="58" creationId="{477A9370-4EB7-D4FB-9C49-64212593232B}"/>
          </ac:spMkLst>
        </pc:spChg>
        <pc:spChg chg="add mod">
          <ac:chgData name="Md Fahim Hasan" userId="92968fce-d4dd-4b9e-8635-66a07c9f98a7" providerId="ADAL" clId="{3A6F4128-6482-4C75-8C7D-220A75826C22}" dt="2023-07-21T22:03:48.035" v="13026" actId="12"/>
          <ac:spMkLst>
            <pc:docMk/>
            <pc:sldMk cId="382852834" sldId="2146846384"/>
            <ac:spMk id="59" creationId="{90B4C7A6-1146-A4F7-F58B-CF1A5B25CD55}"/>
          </ac:spMkLst>
        </pc:spChg>
        <pc:spChg chg="add mod">
          <ac:chgData name="Md Fahim Hasan" userId="92968fce-d4dd-4b9e-8635-66a07c9f98a7" providerId="ADAL" clId="{3A6F4128-6482-4C75-8C7D-220A75826C22}" dt="2023-07-21T22:06:16.175" v="13041" actId="207"/>
          <ac:spMkLst>
            <pc:docMk/>
            <pc:sldMk cId="382852834" sldId="2146846384"/>
            <ac:spMk id="62" creationId="{6ACC9BD9-0A30-22E4-1AAE-B7B60C0DD078}"/>
          </ac:spMkLst>
        </pc:spChg>
        <pc:spChg chg="add mod">
          <ac:chgData name="Md Fahim Hasan" userId="92968fce-d4dd-4b9e-8635-66a07c9f98a7" providerId="ADAL" clId="{3A6F4128-6482-4C75-8C7D-220A75826C22}" dt="2023-07-21T22:06:16.175" v="13041" actId="207"/>
          <ac:spMkLst>
            <pc:docMk/>
            <pc:sldMk cId="382852834" sldId="2146846384"/>
            <ac:spMk id="63" creationId="{15AC1DFF-5986-2F03-33B5-C89C2ADF3A4F}"/>
          </ac:spMkLst>
        </pc:spChg>
        <pc:spChg chg="add mod">
          <ac:chgData name="Md Fahim Hasan" userId="92968fce-d4dd-4b9e-8635-66a07c9f98a7" providerId="ADAL" clId="{3A6F4128-6482-4C75-8C7D-220A75826C22}" dt="2023-07-21T22:32:42.801" v="13572" actId="207"/>
          <ac:spMkLst>
            <pc:docMk/>
            <pc:sldMk cId="382852834" sldId="2146846384"/>
            <ac:spMk id="67" creationId="{3D57C913-D685-7FBB-DAC9-D663C4A11301}"/>
          </ac:spMkLst>
        </pc:spChg>
        <pc:spChg chg="add mod">
          <ac:chgData name="Md Fahim Hasan" userId="92968fce-d4dd-4b9e-8635-66a07c9f98a7" providerId="ADAL" clId="{3A6F4128-6482-4C75-8C7D-220A75826C22}" dt="2023-07-21T22:03:48.035" v="13026" actId="12"/>
          <ac:spMkLst>
            <pc:docMk/>
            <pc:sldMk cId="382852834" sldId="2146846384"/>
            <ac:spMk id="68" creationId="{60A3FB28-B2FC-8C9E-D8BB-40907E553639}"/>
          </ac:spMkLst>
        </pc:spChg>
        <pc:spChg chg="add mod">
          <ac:chgData name="Md Fahim Hasan" userId="92968fce-d4dd-4b9e-8635-66a07c9f98a7" providerId="ADAL" clId="{3A6F4128-6482-4C75-8C7D-220A75826C22}" dt="2023-08-01T14:38:20.134" v="40506" actId="1036"/>
          <ac:spMkLst>
            <pc:docMk/>
            <pc:sldMk cId="382852834" sldId="2146846384"/>
            <ac:spMk id="69" creationId="{1F2244A3-95C7-B48D-A6EF-2490C551608A}"/>
          </ac:spMkLst>
        </pc:spChg>
        <pc:spChg chg="add mod">
          <ac:chgData name="Md Fahim Hasan" userId="92968fce-d4dd-4b9e-8635-66a07c9f98a7" providerId="ADAL" clId="{3A6F4128-6482-4C75-8C7D-220A75826C22}" dt="2023-07-21T21:56:04.275" v="12923" actId="20577"/>
          <ac:spMkLst>
            <pc:docMk/>
            <pc:sldMk cId="382852834" sldId="2146846384"/>
            <ac:spMk id="70" creationId="{7599C1EA-8875-C4A1-8903-9D62F4FB0D5A}"/>
          </ac:spMkLst>
        </pc:spChg>
        <pc:spChg chg="add mod">
          <ac:chgData name="Md Fahim Hasan" userId="92968fce-d4dd-4b9e-8635-66a07c9f98a7" providerId="ADAL" clId="{3A6F4128-6482-4C75-8C7D-220A75826C22}" dt="2023-07-17T21:43:55.950" v="1121" actId="208"/>
          <ac:spMkLst>
            <pc:docMk/>
            <pc:sldMk cId="382852834" sldId="2146846384"/>
            <ac:spMk id="71" creationId="{F4202240-684A-A638-AB60-5BAEB293E7D2}"/>
          </ac:spMkLst>
        </pc:spChg>
        <pc:spChg chg="mod topLvl">
          <ac:chgData name="Md Fahim Hasan" userId="92968fce-d4dd-4b9e-8635-66a07c9f98a7" providerId="ADAL" clId="{3A6F4128-6482-4C75-8C7D-220A75826C22}" dt="2023-07-21T22:04:41.438" v="13032" actId="165"/>
          <ac:spMkLst>
            <pc:docMk/>
            <pc:sldMk cId="382852834" sldId="2146846384"/>
            <ac:spMk id="74" creationId="{EF460FF9-A7A4-B7B8-D81A-DD54DBA43839}"/>
          </ac:spMkLst>
        </pc:spChg>
        <pc:spChg chg="mod topLvl">
          <ac:chgData name="Md Fahim Hasan" userId="92968fce-d4dd-4b9e-8635-66a07c9f98a7" providerId="ADAL" clId="{3A6F4128-6482-4C75-8C7D-220A75826C22}" dt="2023-07-21T22:04:41.438" v="13032" actId="165"/>
          <ac:spMkLst>
            <pc:docMk/>
            <pc:sldMk cId="382852834" sldId="2146846384"/>
            <ac:spMk id="75" creationId="{8416AE51-D388-A4C7-CAA1-7EBB934E90A5}"/>
          </ac:spMkLst>
        </pc:spChg>
        <pc:spChg chg="mod">
          <ac:chgData name="Md Fahim Hasan" userId="92968fce-d4dd-4b9e-8635-66a07c9f98a7" providerId="ADAL" clId="{3A6F4128-6482-4C75-8C7D-220A75826C22}" dt="2023-07-17T21:41:42.903" v="1089"/>
          <ac:spMkLst>
            <pc:docMk/>
            <pc:sldMk cId="382852834" sldId="2146846384"/>
            <ac:spMk id="77" creationId="{E12DC08A-BD51-D12A-A46E-A00DCC75C9CA}"/>
          </ac:spMkLst>
        </pc:spChg>
        <pc:spChg chg="mod">
          <ac:chgData name="Md Fahim Hasan" userId="92968fce-d4dd-4b9e-8635-66a07c9f98a7" providerId="ADAL" clId="{3A6F4128-6482-4C75-8C7D-220A75826C22}" dt="2023-07-17T21:42:07.632" v="1096" actId="1035"/>
          <ac:spMkLst>
            <pc:docMk/>
            <pc:sldMk cId="382852834" sldId="2146846384"/>
            <ac:spMk id="78" creationId="{49850E5A-08AC-04AF-A46E-EDEFF2029092}"/>
          </ac:spMkLst>
        </pc:spChg>
        <pc:spChg chg="add mod">
          <ac:chgData name="Md Fahim Hasan" userId="92968fce-d4dd-4b9e-8635-66a07c9f98a7" providerId="ADAL" clId="{3A6F4128-6482-4C75-8C7D-220A75826C22}" dt="2023-07-21T21:57:09.295" v="12953" actId="1076"/>
          <ac:spMkLst>
            <pc:docMk/>
            <pc:sldMk cId="382852834" sldId="2146846384"/>
            <ac:spMk id="83" creationId="{B389E4F6-61CA-0F42-BB36-6871F0F4FDCF}"/>
          </ac:spMkLst>
        </pc:spChg>
        <pc:spChg chg="add mod">
          <ac:chgData name="Md Fahim Hasan" userId="92968fce-d4dd-4b9e-8635-66a07c9f98a7" providerId="ADAL" clId="{3A6F4128-6482-4C75-8C7D-220A75826C22}" dt="2023-07-21T22:03:13.362" v="13023" actId="403"/>
          <ac:spMkLst>
            <pc:docMk/>
            <pc:sldMk cId="382852834" sldId="2146846384"/>
            <ac:spMk id="84" creationId="{1EF420AB-027C-90AF-CD6B-38191B3E36BD}"/>
          </ac:spMkLst>
        </pc:spChg>
        <pc:grpChg chg="del">
          <ac:chgData name="Md Fahim Hasan" userId="92968fce-d4dd-4b9e-8635-66a07c9f98a7" providerId="ADAL" clId="{3A6F4128-6482-4C75-8C7D-220A75826C22}" dt="2023-07-17T21:11:04.748" v="2" actId="478"/>
          <ac:grpSpMkLst>
            <pc:docMk/>
            <pc:sldMk cId="382852834" sldId="2146846384"/>
            <ac:grpSpMk id="54" creationId="{BB036D7E-F778-81C0-0B79-7BED73A349C2}"/>
          </ac:grpSpMkLst>
        </pc:grpChg>
        <pc:grpChg chg="del">
          <ac:chgData name="Md Fahim Hasan" userId="92968fce-d4dd-4b9e-8635-66a07c9f98a7" providerId="ADAL" clId="{3A6F4128-6482-4C75-8C7D-220A75826C22}" dt="2023-07-17T21:11:04.748" v="2" actId="478"/>
          <ac:grpSpMkLst>
            <pc:docMk/>
            <pc:sldMk cId="382852834" sldId="2146846384"/>
            <ac:grpSpMk id="55" creationId="{CEC16733-1ABE-46CA-52CB-ECABAFEA4AB2}"/>
          </ac:grpSpMkLst>
        </pc:grpChg>
        <pc:grpChg chg="add mod">
          <ac:chgData name="Md Fahim Hasan" userId="92968fce-d4dd-4b9e-8635-66a07c9f98a7" providerId="ADAL" clId="{3A6F4128-6482-4C75-8C7D-220A75826C22}" dt="2023-07-21T21:54:06.676" v="12875" actId="1076"/>
          <ac:grpSpMkLst>
            <pc:docMk/>
            <pc:sldMk cId="382852834" sldId="2146846384"/>
            <ac:grpSpMk id="72" creationId="{28935246-43A0-D9B5-F806-50679A7F07D6}"/>
          </ac:grpSpMkLst>
        </pc:grpChg>
        <pc:grpChg chg="add del mod">
          <ac:chgData name="Md Fahim Hasan" userId="92968fce-d4dd-4b9e-8635-66a07c9f98a7" providerId="ADAL" clId="{3A6F4128-6482-4C75-8C7D-220A75826C22}" dt="2023-07-21T22:04:41.438" v="13032" actId="165"/>
          <ac:grpSpMkLst>
            <pc:docMk/>
            <pc:sldMk cId="382852834" sldId="2146846384"/>
            <ac:grpSpMk id="73" creationId="{351E3220-30A9-87D2-A09B-07BFC262DB00}"/>
          </ac:grpSpMkLst>
        </pc:grpChg>
        <pc:grpChg chg="add del mod">
          <ac:chgData name="Md Fahim Hasan" userId="92968fce-d4dd-4b9e-8635-66a07c9f98a7" providerId="ADAL" clId="{3A6F4128-6482-4C75-8C7D-220A75826C22}" dt="2023-07-17T21:42:09.730" v="1097" actId="478"/>
          <ac:grpSpMkLst>
            <pc:docMk/>
            <pc:sldMk cId="382852834" sldId="2146846384"/>
            <ac:grpSpMk id="76" creationId="{8056314D-7175-6C76-418F-89FD42CBB3BB}"/>
          </ac:grpSpMkLst>
        </pc:grpChg>
        <pc:graphicFrameChg chg="add del mod modGraphic">
          <ac:chgData name="Md Fahim Hasan" userId="92968fce-d4dd-4b9e-8635-66a07c9f98a7" providerId="ADAL" clId="{3A6F4128-6482-4C75-8C7D-220A75826C22}" dt="2023-07-17T21:12:25.560" v="46" actId="478"/>
          <ac:graphicFrameMkLst>
            <pc:docMk/>
            <pc:sldMk cId="382852834" sldId="2146846384"/>
            <ac:graphicFrameMk id="57" creationId="{3673AF8C-EE81-1C6F-E846-293E16D9154B}"/>
          </ac:graphicFrameMkLst>
        </pc:graphicFrameChg>
        <pc:cxnChg chg="del mod">
          <ac:chgData name="Md Fahim Hasan" userId="92968fce-d4dd-4b9e-8635-66a07c9f98a7" providerId="ADAL" clId="{3A6F4128-6482-4C75-8C7D-220A75826C22}" dt="2023-07-17T21:11:04.748" v="2" actId="478"/>
          <ac:cxnSpMkLst>
            <pc:docMk/>
            <pc:sldMk cId="382852834" sldId="2146846384"/>
            <ac:cxnSpMk id="50" creationId="{9D61E925-395E-6D9C-EFC3-81B44599AF0F}"/>
          </ac:cxnSpMkLst>
        </pc:cxnChg>
        <pc:cxnChg chg="add mod">
          <ac:chgData name="Md Fahim Hasan" userId="92968fce-d4dd-4b9e-8635-66a07c9f98a7" providerId="ADAL" clId="{3A6F4128-6482-4C75-8C7D-220A75826C22}" dt="2023-07-21T21:54:06.676" v="12875" actId="1076"/>
          <ac:cxnSpMkLst>
            <pc:docMk/>
            <pc:sldMk cId="382852834" sldId="2146846384"/>
            <ac:cxnSpMk id="61" creationId="{36FD637E-E67B-7D24-5C59-101BCC9B20B1}"/>
          </ac:cxnSpMkLst>
        </pc:cxnChg>
        <pc:cxnChg chg="add mod">
          <ac:chgData name="Md Fahim Hasan" userId="92968fce-d4dd-4b9e-8635-66a07c9f98a7" providerId="ADAL" clId="{3A6F4128-6482-4C75-8C7D-220A75826C22}" dt="2023-07-21T21:56:51.367" v="12944" actId="1076"/>
          <ac:cxnSpMkLst>
            <pc:docMk/>
            <pc:sldMk cId="382852834" sldId="2146846384"/>
            <ac:cxnSpMk id="64" creationId="{F8C37DCD-1BE8-D3DD-E51D-F73EC3236D8D}"/>
          </ac:cxnSpMkLst>
        </pc:cxnChg>
        <pc:cxnChg chg="add mod">
          <ac:chgData name="Md Fahim Hasan" userId="92968fce-d4dd-4b9e-8635-66a07c9f98a7" providerId="ADAL" clId="{3A6F4128-6482-4C75-8C7D-220A75826C22}" dt="2023-07-21T22:03:29.871" v="13024" actId="14100"/>
          <ac:cxnSpMkLst>
            <pc:docMk/>
            <pc:sldMk cId="382852834" sldId="2146846384"/>
            <ac:cxnSpMk id="79" creationId="{687AEA25-50B3-782B-E1A4-FE0011FDE576}"/>
          </ac:cxnSpMkLst>
        </pc:cxnChg>
        <pc:cxnChg chg="add mod">
          <ac:chgData name="Md Fahim Hasan" userId="92968fce-d4dd-4b9e-8635-66a07c9f98a7" providerId="ADAL" clId="{3A6F4128-6482-4C75-8C7D-220A75826C22}" dt="2023-07-21T21:54:06.676" v="12875" actId="1076"/>
          <ac:cxnSpMkLst>
            <pc:docMk/>
            <pc:sldMk cId="382852834" sldId="2146846384"/>
            <ac:cxnSpMk id="81" creationId="{B0FA33D4-5E5F-92B5-C3F6-D67E1F0E9F89}"/>
          </ac:cxnSpMkLst>
        </pc:cxnChg>
      </pc:sldChg>
      <pc:sldChg chg="addSp delSp modSp add mod ord modAnim delCm modNotesTx">
        <pc:chgData name="Md Fahim Hasan" userId="92968fce-d4dd-4b9e-8635-66a07c9f98a7" providerId="ADAL" clId="{3A6F4128-6482-4C75-8C7D-220A75826C22}" dt="2023-08-01T14:35:18.475" v="40501" actId="5793"/>
        <pc:sldMkLst>
          <pc:docMk/>
          <pc:sldMk cId="268688356" sldId="2146846385"/>
        </pc:sldMkLst>
        <pc:spChg chg="add mod">
          <ac:chgData name="Md Fahim Hasan" userId="92968fce-d4dd-4b9e-8635-66a07c9f98a7" providerId="ADAL" clId="{3A6F4128-6482-4C75-8C7D-220A75826C22}" dt="2023-07-26T23:58:03.225" v="31458" actId="27636"/>
          <ac:spMkLst>
            <pc:docMk/>
            <pc:sldMk cId="268688356" sldId="2146846385"/>
            <ac:spMk id="2" creationId="{C8283E70-F220-0EF3-63D9-8EACFDCC07A6}"/>
          </ac:spMkLst>
        </pc:spChg>
        <pc:spChg chg="del">
          <ac:chgData name="Md Fahim Hasan" userId="92968fce-d4dd-4b9e-8635-66a07c9f98a7" providerId="ADAL" clId="{3A6F4128-6482-4C75-8C7D-220A75826C22}" dt="2023-07-21T15:15:33.070" v="10158" actId="478"/>
          <ac:spMkLst>
            <pc:docMk/>
            <pc:sldMk cId="268688356" sldId="2146846385"/>
            <ac:spMk id="3" creationId="{3ACEEEF4-B14A-AA4F-8119-DDD2F2C82E21}"/>
          </ac:spMkLst>
        </pc:spChg>
        <pc:spChg chg="mod">
          <ac:chgData name="Md Fahim Hasan" userId="92968fce-d4dd-4b9e-8635-66a07c9f98a7" providerId="ADAL" clId="{3A6F4128-6482-4C75-8C7D-220A75826C22}" dt="2023-07-26T23:57:30.657" v="31454" actId="20577"/>
          <ac:spMkLst>
            <pc:docMk/>
            <pc:sldMk cId="268688356" sldId="2146846385"/>
            <ac:spMk id="4" creationId="{6E725962-AA6E-3764-10EC-09E349BF7BE0}"/>
          </ac:spMkLst>
        </pc:spChg>
        <pc:spChg chg="add mod">
          <ac:chgData name="Md Fahim Hasan" userId="92968fce-d4dd-4b9e-8635-66a07c9f98a7" providerId="ADAL" clId="{3A6F4128-6482-4C75-8C7D-220A75826C22}" dt="2023-07-26T14:53:51.684" v="21399" actId="1036"/>
          <ac:spMkLst>
            <pc:docMk/>
            <pc:sldMk cId="268688356" sldId="2146846385"/>
            <ac:spMk id="5" creationId="{78336494-07A2-AFEF-44BC-F6BB3B326DA1}"/>
          </ac:spMkLst>
        </pc:spChg>
        <pc:spChg chg="add mod">
          <ac:chgData name="Md Fahim Hasan" userId="92968fce-d4dd-4b9e-8635-66a07c9f98a7" providerId="ADAL" clId="{3A6F4128-6482-4C75-8C7D-220A75826C22}" dt="2023-07-27T21:51:14.626" v="38143" actId="14100"/>
          <ac:spMkLst>
            <pc:docMk/>
            <pc:sldMk cId="268688356" sldId="2146846385"/>
            <ac:spMk id="6" creationId="{02E82B1F-8C1E-18D3-20EF-F680A1F852F8}"/>
          </ac:spMkLst>
        </pc:spChg>
        <pc:spChg chg="mod">
          <ac:chgData name="Md Fahim Hasan" userId="92968fce-d4dd-4b9e-8635-66a07c9f98a7" providerId="ADAL" clId="{3A6F4128-6482-4C75-8C7D-220A75826C22}" dt="2023-07-27T15:51:58.279" v="35706"/>
          <ac:spMkLst>
            <pc:docMk/>
            <pc:sldMk cId="268688356" sldId="2146846385"/>
            <ac:spMk id="8" creationId="{CB0C19E4-1189-79AC-0F7A-7BEC20992E77}"/>
          </ac:spMkLst>
        </pc:spChg>
        <pc:spChg chg="mod">
          <ac:chgData name="Md Fahim Hasan" userId="92968fce-d4dd-4b9e-8635-66a07c9f98a7" providerId="ADAL" clId="{3A6F4128-6482-4C75-8C7D-220A75826C22}" dt="2023-07-28T17:34:15.845" v="39002" actId="1076"/>
          <ac:spMkLst>
            <pc:docMk/>
            <pc:sldMk cId="268688356" sldId="2146846385"/>
            <ac:spMk id="9" creationId="{DCE765C9-F866-A10C-05BC-B0F5CF7D4FA9}"/>
          </ac:spMkLst>
        </pc:spChg>
        <pc:spChg chg="mod">
          <ac:chgData name="Md Fahim Hasan" userId="92968fce-d4dd-4b9e-8635-66a07c9f98a7" providerId="ADAL" clId="{3A6F4128-6482-4C75-8C7D-220A75826C22}" dt="2023-07-21T21:37:28.045" v="12602" actId="14826"/>
          <ac:spMkLst>
            <pc:docMk/>
            <pc:sldMk cId="268688356" sldId="2146846385"/>
            <ac:spMk id="12" creationId="{48DBBE49-ED73-2254-0BE5-A295569002D1}"/>
          </ac:spMkLst>
        </pc:spChg>
        <pc:spChg chg="mod">
          <ac:chgData name="Md Fahim Hasan" userId="92968fce-d4dd-4b9e-8635-66a07c9f98a7" providerId="ADAL" clId="{3A6F4128-6482-4C75-8C7D-220A75826C22}" dt="2023-07-21T21:37:35.730" v="12603" actId="14826"/>
          <ac:spMkLst>
            <pc:docMk/>
            <pc:sldMk cId="268688356" sldId="2146846385"/>
            <ac:spMk id="13" creationId="{ED40BAEA-6059-01BF-513C-63213A436B11}"/>
          </ac:spMkLst>
        </pc:spChg>
        <pc:spChg chg="mod">
          <ac:chgData name="Md Fahim Hasan" userId="92968fce-d4dd-4b9e-8635-66a07c9f98a7" providerId="ADAL" clId="{3A6F4128-6482-4C75-8C7D-220A75826C22}" dt="2023-07-21T21:37:28.045" v="12602" actId="14826"/>
          <ac:spMkLst>
            <pc:docMk/>
            <pc:sldMk cId="268688356" sldId="2146846385"/>
            <ac:spMk id="16" creationId="{C730CBBA-5438-1BB7-FC3E-835A799152A0}"/>
          </ac:spMkLst>
        </pc:spChg>
        <pc:spChg chg="mod">
          <ac:chgData name="Md Fahim Hasan" userId="92968fce-d4dd-4b9e-8635-66a07c9f98a7" providerId="ADAL" clId="{3A6F4128-6482-4C75-8C7D-220A75826C22}" dt="2023-07-21T21:37:28.045" v="12602" actId="14826"/>
          <ac:spMkLst>
            <pc:docMk/>
            <pc:sldMk cId="268688356" sldId="2146846385"/>
            <ac:spMk id="23" creationId="{F6272827-6FD3-C491-ECC5-616854B9DA40}"/>
          </ac:spMkLst>
        </pc:spChg>
        <pc:spChg chg="mod">
          <ac:chgData name="Md Fahim Hasan" userId="92968fce-d4dd-4b9e-8635-66a07c9f98a7" providerId="ADAL" clId="{3A6F4128-6482-4C75-8C7D-220A75826C22}" dt="2023-07-21T21:37:28.045" v="12602" actId="14826"/>
          <ac:spMkLst>
            <pc:docMk/>
            <pc:sldMk cId="268688356" sldId="2146846385"/>
            <ac:spMk id="24" creationId="{892028F1-03AC-5FA8-36F5-F9D01ABDD6FF}"/>
          </ac:spMkLst>
        </pc:spChg>
        <pc:spChg chg="add mod">
          <ac:chgData name="Md Fahim Hasan" userId="92968fce-d4dd-4b9e-8635-66a07c9f98a7" providerId="ADAL" clId="{3A6F4128-6482-4C75-8C7D-220A75826C22}" dt="2023-07-21T21:48:17.371" v="12768" actId="164"/>
          <ac:spMkLst>
            <pc:docMk/>
            <pc:sldMk cId="268688356" sldId="2146846385"/>
            <ac:spMk id="25" creationId="{6DE7AC48-BFBE-6DB8-F329-F8493A883501}"/>
          </ac:spMkLst>
        </pc:spChg>
        <pc:spChg chg="add del mod">
          <ac:chgData name="Md Fahim Hasan" userId="92968fce-d4dd-4b9e-8635-66a07c9f98a7" providerId="ADAL" clId="{3A6F4128-6482-4C75-8C7D-220A75826C22}" dt="2023-07-26T18:05:21.152" v="22893" actId="14100"/>
          <ac:spMkLst>
            <pc:docMk/>
            <pc:sldMk cId="268688356" sldId="2146846385"/>
            <ac:spMk id="32" creationId="{396805B4-5D00-3916-0629-59FE4F96CC1D}"/>
          </ac:spMkLst>
        </pc:spChg>
        <pc:spChg chg="mod">
          <ac:chgData name="Md Fahim Hasan" userId="92968fce-d4dd-4b9e-8635-66a07c9f98a7" providerId="ADAL" clId="{3A6F4128-6482-4C75-8C7D-220A75826C22}" dt="2023-07-26T18:05:41.224" v="22918" actId="1076"/>
          <ac:spMkLst>
            <pc:docMk/>
            <pc:sldMk cId="268688356" sldId="2146846385"/>
            <ac:spMk id="35" creationId="{892304CE-0573-15AF-4177-D11426B8D75D}"/>
          </ac:spMkLst>
        </pc:spChg>
        <pc:spChg chg="mod">
          <ac:chgData name="Md Fahim Hasan" userId="92968fce-d4dd-4b9e-8635-66a07c9f98a7" providerId="ADAL" clId="{3A6F4128-6482-4C75-8C7D-220A75826C22}" dt="2023-07-26T18:06:09.644" v="22922" actId="1076"/>
          <ac:spMkLst>
            <pc:docMk/>
            <pc:sldMk cId="268688356" sldId="2146846385"/>
            <ac:spMk id="36" creationId="{EFBE61BD-D473-5ED1-C858-519CD9430199}"/>
          </ac:spMkLst>
        </pc:spChg>
        <pc:spChg chg="mod">
          <ac:chgData name="Md Fahim Hasan" userId="92968fce-d4dd-4b9e-8635-66a07c9f98a7" providerId="ADAL" clId="{3A6F4128-6482-4C75-8C7D-220A75826C22}" dt="2023-07-26T21:39:18.921" v="30759" actId="14100"/>
          <ac:spMkLst>
            <pc:docMk/>
            <pc:sldMk cId="268688356" sldId="2146846385"/>
            <ac:spMk id="48" creationId="{15E99825-C9AC-1D6E-A93B-EE359DEB615C}"/>
          </ac:spMkLst>
        </pc:spChg>
        <pc:spChg chg="mod">
          <ac:chgData name="Md Fahim Hasan" userId="92968fce-d4dd-4b9e-8635-66a07c9f98a7" providerId="ADAL" clId="{3A6F4128-6482-4C75-8C7D-220A75826C22}" dt="2023-07-26T22:37:29.724" v="30873" actId="1076"/>
          <ac:spMkLst>
            <pc:docMk/>
            <pc:sldMk cId="268688356" sldId="2146846385"/>
            <ac:spMk id="51" creationId="{F0B8A31B-42FA-0224-8592-5D33531B2824}"/>
          </ac:spMkLst>
        </pc:spChg>
        <pc:grpChg chg="add mod">
          <ac:chgData name="Md Fahim Hasan" userId="92968fce-d4dd-4b9e-8635-66a07c9f98a7" providerId="ADAL" clId="{3A6F4128-6482-4C75-8C7D-220A75826C22}" dt="2023-07-26T14:53:51.684" v="21399" actId="1036"/>
          <ac:grpSpMkLst>
            <pc:docMk/>
            <pc:sldMk cId="268688356" sldId="2146846385"/>
            <ac:grpSpMk id="28" creationId="{CF4A64E6-4814-A528-A185-C4967DF9B577}"/>
          </ac:grpSpMkLst>
        </pc:grpChg>
        <pc:grpChg chg="mod">
          <ac:chgData name="Md Fahim Hasan" userId="92968fce-d4dd-4b9e-8635-66a07c9f98a7" providerId="ADAL" clId="{3A6F4128-6482-4C75-8C7D-220A75826C22}" dt="2023-07-26T14:53:51.684" v="21399" actId="1036"/>
          <ac:grpSpMkLst>
            <pc:docMk/>
            <pc:sldMk cId="268688356" sldId="2146846385"/>
            <ac:grpSpMk id="54" creationId="{BB036D7E-F778-81C0-0B79-7BED73A349C2}"/>
          </ac:grpSpMkLst>
        </pc:grpChg>
        <pc:grpChg chg="mod">
          <ac:chgData name="Md Fahim Hasan" userId="92968fce-d4dd-4b9e-8635-66a07c9f98a7" providerId="ADAL" clId="{3A6F4128-6482-4C75-8C7D-220A75826C22}" dt="2023-07-26T14:53:51.684" v="21399" actId="1036"/>
          <ac:grpSpMkLst>
            <pc:docMk/>
            <pc:sldMk cId="268688356" sldId="2146846385"/>
            <ac:grpSpMk id="55" creationId="{CEC16733-1ABE-46CA-52CB-ECABAFEA4AB2}"/>
          </ac:grpSpMkLst>
        </pc:grpChg>
        <pc:picChg chg="mod">
          <ac:chgData name="Md Fahim Hasan" userId="92968fce-d4dd-4b9e-8635-66a07c9f98a7" providerId="ADAL" clId="{3A6F4128-6482-4C75-8C7D-220A75826C22}" dt="2023-07-21T21:37:28.045" v="12602" actId="14826"/>
          <ac:picMkLst>
            <pc:docMk/>
            <pc:sldMk cId="268688356" sldId="2146846385"/>
            <ac:picMk id="7" creationId="{7CB43FD0-7529-53F8-DE4C-8971F32C0E91}"/>
          </ac:picMkLst>
        </pc:picChg>
        <pc:picChg chg="mod">
          <ac:chgData name="Md Fahim Hasan" userId="92968fce-d4dd-4b9e-8635-66a07c9f98a7" providerId="ADAL" clId="{3A6F4128-6482-4C75-8C7D-220A75826C22}" dt="2023-07-21T21:37:35.730" v="12603" actId="14826"/>
          <ac:picMkLst>
            <pc:docMk/>
            <pc:sldMk cId="268688356" sldId="2146846385"/>
            <ac:picMk id="11" creationId="{99001C14-7520-EAB3-55CF-A680DB6371B9}"/>
          </ac:picMkLst>
        </pc:picChg>
        <pc:picChg chg="add mod modCrop">
          <ac:chgData name="Md Fahim Hasan" userId="92968fce-d4dd-4b9e-8635-66a07c9f98a7" providerId="ADAL" clId="{3A6F4128-6482-4C75-8C7D-220A75826C22}" dt="2023-07-21T21:48:17.371" v="12768" actId="164"/>
          <ac:picMkLst>
            <pc:docMk/>
            <pc:sldMk cId="268688356" sldId="2146846385"/>
            <ac:picMk id="22" creationId="{00D24C8B-9622-D661-731F-2D9D96E1D3D5}"/>
          </ac:picMkLst>
        </pc:picChg>
        <pc:cxnChg chg="mod">
          <ac:chgData name="Md Fahim Hasan" userId="92968fce-d4dd-4b9e-8635-66a07c9f98a7" providerId="ADAL" clId="{3A6F4128-6482-4C75-8C7D-220A75826C22}" dt="2023-07-21T21:37:28.045" v="12602" actId="14826"/>
          <ac:cxnSpMkLst>
            <pc:docMk/>
            <pc:sldMk cId="268688356" sldId="2146846385"/>
            <ac:cxnSpMk id="18" creationId="{07513E80-F135-F75D-61DE-762C4E521C01}"/>
          </ac:cxnSpMkLst>
        </pc:cxnChg>
        <pc:cxnChg chg="mod">
          <ac:chgData name="Md Fahim Hasan" userId="92968fce-d4dd-4b9e-8635-66a07c9f98a7" providerId="ADAL" clId="{3A6F4128-6482-4C75-8C7D-220A75826C22}" dt="2023-07-21T21:37:28.045" v="12602" actId="14826"/>
          <ac:cxnSpMkLst>
            <pc:docMk/>
            <pc:sldMk cId="268688356" sldId="2146846385"/>
            <ac:cxnSpMk id="20" creationId="{D9FFD83C-8840-6874-DB1C-744A00C84368}"/>
          </ac:cxnSpMkLst>
        </pc:cxnChg>
        <pc:cxnChg chg="mod">
          <ac:chgData name="Md Fahim Hasan" userId="92968fce-d4dd-4b9e-8635-66a07c9f98a7" providerId="ADAL" clId="{3A6F4128-6482-4C75-8C7D-220A75826C22}" dt="2023-07-21T21:37:49.155" v="12606" actId="14100"/>
          <ac:cxnSpMkLst>
            <pc:docMk/>
            <pc:sldMk cId="268688356" sldId="2146846385"/>
            <ac:cxnSpMk id="26" creationId="{19C52438-EE45-AE90-9EA4-ED6A028292A6}"/>
          </ac:cxnSpMkLst>
        </pc:cxnChg>
        <pc:cxnChg chg="mod">
          <ac:chgData name="Md Fahim Hasan" userId="92968fce-d4dd-4b9e-8635-66a07c9f98a7" providerId="ADAL" clId="{3A6F4128-6482-4C75-8C7D-220A75826C22}" dt="2023-07-21T21:37:46.367" v="12605" actId="14100"/>
          <ac:cxnSpMkLst>
            <pc:docMk/>
            <pc:sldMk cId="268688356" sldId="2146846385"/>
            <ac:cxnSpMk id="27" creationId="{89BC8538-234E-E8A2-4C0F-B973AC20E6EA}"/>
          </ac:cxnSpMkLst>
        </pc:cxnChg>
        <pc:cxnChg chg="mod">
          <ac:chgData name="Md Fahim Hasan" userId="92968fce-d4dd-4b9e-8635-66a07c9f98a7" providerId="ADAL" clId="{3A6F4128-6482-4C75-8C7D-220A75826C22}" dt="2023-07-26T18:05:38.854" v="22917" actId="14100"/>
          <ac:cxnSpMkLst>
            <pc:docMk/>
            <pc:sldMk cId="268688356" sldId="2146846385"/>
            <ac:cxnSpMk id="33" creationId="{C078DE34-47CB-6319-2B6A-A04B4EA24757}"/>
          </ac:cxnSpMkLst>
        </pc:cxnChg>
        <pc:cxnChg chg="mod">
          <ac:chgData name="Md Fahim Hasan" userId="92968fce-d4dd-4b9e-8635-66a07c9f98a7" providerId="ADAL" clId="{3A6F4128-6482-4C75-8C7D-220A75826C22}" dt="2023-07-26T18:06:07.086" v="22921" actId="14100"/>
          <ac:cxnSpMkLst>
            <pc:docMk/>
            <pc:sldMk cId="268688356" sldId="2146846385"/>
            <ac:cxnSpMk id="34" creationId="{5E86880E-E220-4190-F201-7B65AC6F7224}"/>
          </ac:cxnSpMkLst>
        </pc:cxnChg>
        <pc:cxnChg chg="mod">
          <ac:chgData name="Md Fahim Hasan" userId="92968fce-d4dd-4b9e-8635-66a07c9f98a7" providerId="ADAL" clId="{3A6F4128-6482-4C75-8C7D-220A75826C22}" dt="2023-07-21T21:37:57.039" v="12607" actId="14100"/>
          <ac:cxnSpMkLst>
            <pc:docMk/>
            <pc:sldMk cId="268688356" sldId="2146846385"/>
            <ac:cxnSpMk id="37" creationId="{8CE2CF49-69C9-0D19-D608-1B2C09CD0DB2}"/>
          </ac:cxnSpMkLst>
        </pc:cxnChg>
        <pc:cxnChg chg="mod">
          <ac:chgData name="Md Fahim Hasan" userId="92968fce-d4dd-4b9e-8635-66a07c9f98a7" providerId="ADAL" clId="{3A6F4128-6482-4C75-8C7D-220A75826C22}" dt="2023-07-26T18:05:31.073" v="22915" actId="14100"/>
          <ac:cxnSpMkLst>
            <pc:docMk/>
            <pc:sldMk cId="268688356" sldId="2146846385"/>
            <ac:cxnSpMk id="38" creationId="{F854A347-56A4-652E-9941-A303D8B638A2}"/>
          </ac:cxnSpMkLst>
        </pc:cxnChg>
        <pc:cxnChg chg="mod">
          <ac:chgData name="Md Fahim Hasan" userId="92968fce-d4dd-4b9e-8635-66a07c9f98a7" providerId="ADAL" clId="{3A6F4128-6482-4C75-8C7D-220A75826C22}" dt="2023-07-26T22:37:29.724" v="30873" actId="1076"/>
          <ac:cxnSpMkLst>
            <pc:docMk/>
            <pc:sldMk cId="268688356" sldId="2146846385"/>
            <ac:cxnSpMk id="50" creationId="{9D61E925-395E-6D9C-EFC3-81B44599AF0F}"/>
          </ac:cxnSpMkLst>
        </pc:cxnChg>
      </pc:sldChg>
      <pc:sldChg chg="addSp delSp modSp add mod delAnim modAnim modNotesTx">
        <pc:chgData name="Md Fahim Hasan" userId="92968fce-d4dd-4b9e-8635-66a07c9f98a7" providerId="ADAL" clId="{3A6F4128-6482-4C75-8C7D-220A75826C22}" dt="2023-07-27T20:43:48.895" v="38126" actId="20577"/>
        <pc:sldMkLst>
          <pc:docMk/>
          <pc:sldMk cId="3299819554" sldId="2146846386"/>
        </pc:sldMkLst>
        <pc:spChg chg="add del mod">
          <ac:chgData name="Md Fahim Hasan" userId="92968fce-d4dd-4b9e-8635-66a07c9f98a7" providerId="ADAL" clId="{3A6F4128-6482-4C75-8C7D-220A75826C22}" dt="2023-07-21T22:23:05.622" v="13279" actId="478"/>
          <ac:spMkLst>
            <pc:docMk/>
            <pc:sldMk cId="3299819554" sldId="2146846386"/>
            <ac:spMk id="2" creationId="{D423FFAF-9CDC-ACC2-E90E-850A37957BAA}"/>
          </ac:spMkLst>
        </pc:spChg>
        <pc:spChg chg="add del mod">
          <ac:chgData name="Md Fahim Hasan" userId="92968fce-d4dd-4b9e-8635-66a07c9f98a7" providerId="ADAL" clId="{3A6F4128-6482-4C75-8C7D-220A75826C22}" dt="2023-07-21T22:23:05.622" v="13279" actId="478"/>
          <ac:spMkLst>
            <pc:docMk/>
            <pc:sldMk cId="3299819554" sldId="2146846386"/>
            <ac:spMk id="3" creationId="{BBE374DC-2B4D-CC21-509C-1EE76C7459BF}"/>
          </ac:spMkLst>
        </pc:spChg>
        <pc:spChg chg="mod">
          <ac:chgData name="Md Fahim Hasan" userId="92968fce-d4dd-4b9e-8635-66a07c9f98a7" providerId="ADAL" clId="{3A6F4128-6482-4C75-8C7D-220A75826C22}" dt="2023-07-27T20:43:48.895" v="38126" actId="20577"/>
          <ac:spMkLst>
            <pc:docMk/>
            <pc:sldMk cId="3299819554" sldId="2146846386"/>
            <ac:spMk id="4" creationId="{6E725962-AA6E-3764-10EC-09E349BF7BE0}"/>
          </ac:spMkLst>
        </pc:spChg>
        <pc:spChg chg="add del mod">
          <ac:chgData name="Md Fahim Hasan" userId="92968fce-d4dd-4b9e-8635-66a07c9f98a7" providerId="ADAL" clId="{3A6F4128-6482-4C75-8C7D-220A75826C22}" dt="2023-07-21T22:23:05.622" v="13279" actId="478"/>
          <ac:spMkLst>
            <pc:docMk/>
            <pc:sldMk cId="3299819554" sldId="2146846386"/>
            <ac:spMk id="5" creationId="{9F7F57A7-442D-82AB-3AD9-521A308C82AF}"/>
          </ac:spMkLst>
        </pc:spChg>
        <pc:spChg chg="add del mod">
          <ac:chgData name="Md Fahim Hasan" userId="92968fce-d4dd-4b9e-8635-66a07c9f98a7" providerId="ADAL" clId="{3A6F4128-6482-4C75-8C7D-220A75826C22}" dt="2023-07-21T22:23:05.622" v="13279" actId="478"/>
          <ac:spMkLst>
            <pc:docMk/>
            <pc:sldMk cId="3299819554" sldId="2146846386"/>
            <ac:spMk id="6" creationId="{D027ECB3-9E9A-490C-3B18-F9FAFF0F379D}"/>
          </ac:spMkLst>
        </pc:spChg>
        <pc:spChg chg="add del mod">
          <ac:chgData name="Md Fahim Hasan" userId="92968fce-d4dd-4b9e-8635-66a07c9f98a7" providerId="ADAL" clId="{3A6F4128-6482-4C75-8C7D-220A75826C22}" dt="2023-07-21T22:23:05.622" v="13279" actId="478"/>
          <ac:spMkLst>
            <pc:docMk/>
            <pc:sldMk cId="3299819554" sldId="2146846386"/>
            <ac:spMk id="7" creationId="{42710935-B651-FC59-77DA-0FCAAAFDFECA}"/>
          </ac:spMkLst>
        </pc:spChg>
        <pc:spChg chg="add del mod">
          <ac:chgData name="Md Fahim Hasan" userId="92968fce-d4dd-4b9e-8635-66a07c9f98a7" providerId="ADAL" clId="{3A6F4128-6482-4C75-8C7D-220A75826C22}" dt="2023-07-21T22:23:05.622" v="13279" actId="478"/>
          <ac:spMkLst>
            <pc:docMk/>
            <pc:sldMk cId="3299819554" sldId="2146846386"/>
            <ac:spMk id="8" creationId="{A4B40D14-0A2C-A05B-A83A-19A0895929AA}"/>
          </ac:spMkLst>
        </pc:spChg>
        <pc:spChg chg="mod">
          <ac:chgData name="Md Fahim Hasan" userId="92968fce-d4dd-4b9e-8635-66a07c9f98a7" providerId="ADAL" clId="{3A6F4128-6482-4C75-8C7D-220A75826C22}" dt="2023-07-25T16:57:16.635" v="18198" actId="20577"/>
          <ac:spMkLst>
            <pc:docMk/>
            <pc:sldMk cId="3299819554" sldId="2146846386"/>
            <ac:spMk id="9" creationId="{DCE765C9-F866-A10C-05BC-B0F5CF7D4FA9}"/>
          </ac:spMkLst>
        </pc:spChg>
        <pc:spChg chg="add del mod">
          <ac:chgData name="Md Fahim Hasan" userId="92968fce-d4dd-4b9e-8635-66a07c9f98a7" providerId="ADAL" clId="{3A6F4128-6482-4C75-8C7D-220A75826C22}" dt="2023-07-21T22:23:05.622" v="13279" actId="478"/>
          <ac:spMkLst>
            <pc:docMk/>
            <pc:sldMk cId="3299819554" sldId="2146846386"/>
            <ac:spMk id="10" creationId="{2393CE26-9104-47DD-1444-9251A959AAF8}"/>
          </ac:spMkLst>
        </pc:spChg>
        <pc:spChg chg="add del mod">
          <ac:chgData name="Md Fahim Hasan" userId="92968fce-d4dd-4b9e-8635-66a07c9f98a7" providerId="ADAL" clId="{3A6F4128-6482-4C75-8C7D-220A75826C22}" dt="2023-07-21T22:12:50.685" v="13106" actId="478"/>
          <ac:spMkLst>
            <pc:docMk/>
            <pc:sldMk cId="3299819554" sldId="2146846386"/>
            <ac:spMk id="11" creationId="{F1B28E59-0B9B-278C-E28D-0637FBAC6412}"/>
          </ac:spMkLst>
        </pc:spChg>
        <pc:spChg chg="mod">
          <ac:chgData name="Md Fahim Hasan" userId="92968fce-d4dd-4b9e-8635-66a07c9f98a7" providerId="ADAL" clId="{3A6F4128-6482-4C75-8C7D-220A75826C22}" dt="2023-07-27T15:51:58.279" v="35706"/>
          <ac:spMkLst>
            <pc:docMk/>
            <pc:sldMk cId="3299819554" sldId="2146846386"/>
            <ac:spMk id="13" creationId="{3BF66BB4-76B3-B846-B348-5E45C1721294}"/>
          </ac:spMkLst>
        </pc:spChg>
        <pc:spChg chg="add del mod">
          <ac:chgData name="Md Fahim Hasan" userId="92968fce-d4dd-4b9e-8635-66a07c9f98a7" providerId="ADAL" clId="{3A6F4128-6482-4C75-8C7D-220A75826C22}" dt="2023-07-21T22:23:05.622" v="13279" actId="478"/>
          <ac:spMkLst>
            <pc:docMk/>
            <pc:sldMk cId="3299819554" sldId="2146846386"/>
            <ac:spMk id="14" creationId="{1ECF1496-C26E-777C-A1F2-11A012EB99FF}"/>
          </ac:spMkLst>
        </pc:spChg>
        <pc:spChg chg="add del mod">
          <ac:chgData name="Md Fahim Hasan" userId="92968fce-d4dd-4b9e-8635-66a07c9f98a7" providerId="ADAL" clId="{3A6F4128-6482-4C75-8C7D-220A75826C22}" dt="2023-07-21T22:23:05.622" v="13279" actId="478"/>
          <ac:spMkLst>
            <pc:docMk/>
            <pc:sldMk cId="3299819554" sldId="2146846386"/>
            <ac:spMk id="15" creationId="{9E0E1CDE-6703-FD9D-1A66-476619E1C835}"/>
          </ac:spMkLst>
        </pc:spChg>
        <pc:spChg chg="add del mod">
          <ac:chgData name="Md Fahim Hasan" userId="92968fce-d4dd-4b9e-8635-66a07c9f98a7" providerId="ADAL" clId="{3A6F4128-6482-4C75-8C7D-220A75826C22}" dt="2023-07-21T22:23:05.622" v="13279" actId="478"/>
          <ac:spMkLst>
            <pc:docMk/>
            <pc:sldMk cId="3299819554" sldId="2146846386"/>
            <ac:spMk id="16" creationId="{84F5F83C-35E6-5099-E1AF-3CD54D9B2E5D}"/>
          </ac:spMkLst>
        </pc:spChg>
        <pc:spChg chg="add del mod">
          <ac:chgData name="Md Fahim Hasan" userId="92968fce-d4dd-4b9e-8635-66a07c9f98a7" providerId="ADAL" clId="{3A6F4128-6482-4C75-8C7D-220A75826C22}" dt="2023-07-21T22:23:05.622" v="13279" actId="478"/>
          <ac:spMkLst>
            <pc:docMk/>
            <pc:sldMk cId="3299819554" sldId="2146846386"/>
            <ac:spMk id="17" creationId="{312523D9-B3BC-1E8B-706E-D99E9EB5EB72}"/>
          </ac:spMkLst>
        </pc:spChg>
        <pc:spChg chg="add del mod">
          <ac:chgData name="Md Fahim Hasan" userId="92968fce-d4dd-4b9e-8635-66a07c9f98a7" providerId="ADAL" clId="{3A6F4128-6482-4C75-8C7D-220A75826C22}" dt="2023-07-27T18:31:38.196" v="37457" actId="478"/>
          <ac:spMkLst>
            <pc:docMk/>
            <pc:sldMk cId="3299819554" sldId="2146846386"/>
            <ac:spMk id="18" creationId="{8A507235-1B92-EAC1-A69D-302D45A04D50}"/>
          </ac:spMkLst>
        </pc:spChg>
        <pc:spChg chg="add del mod">
          <ac:chgData name="Md Fahim Hasan" userId="92968fce-d4dd-4b9e-8635-66a07c9f98a7" providerId="ADAL" clId="{3A6F4128-6482-4C75-8C7D-220A75826C22}" dt="2023-07-21T22:12:49.472" v="13105" actId="478"/>
          <ac:spMkLst>
            <pc:docMk/>
            <pc:sldMk cId="3299819554" sldId="2146846386"/>
            <ac:spMk id="31" creationId="{D638F26A-003D-635B-8355-36747F8CA29B}"/>
          </ac:spMkLst>
        </pc:spChg>
        <pc:spChg chg="add del mod">
          <ac:chgData name="Md Fahim Hasan" userId="92968fce-d4dd-4b9e-8635-66a07c9f98a7" providerId="ADAL" clId="{3A6F4128-6482-4C75-8C7D-220A75826C22}" dt="2023-07-21T22:23:05.622" v="13279" actId="478"/>
          <ac:spMkLst>
            <pc:docMk/>
            <pc:sldMk cId="3299819554" sldId="2146846386"/>
            <ac:spMk id="41" creationId="{AF888FBF-A457-95EB-8F40-9876975F7B07}"/>
          </ac:spMkLst>
        </pc:spChg>
        <pc:spChg chg="add del mod">
          <ac:chgData name="Md Fahim Hasan" userId="92968fce-d4dd-4b9e-8635-66a07c9f98a7" providerId="ADAL" clId="{3A6F4128-6482-4C75-8C7D-220A75826C22}" dt="2023-07-21T22:23:05.622" v="13279" actId="478"/>
          <ac:spMkLst>
            <pc:docMk/>
            <pc:sldMk cId="3299819554" sldId="2146846386"/>
            <ac:spMk id="49" creationId="{19C589D2-8479-4B0D-4A80-DEFC3E7C4CC5}"/>
          </ac:spMkLst>
        </pc:spChg>
        <pc:spChg chg="del">
          <ac:chgData name="Md Fahim Hasan" userId="92968fce-d4dd-4b9e-8635-66a07c9f98a7" providerId="ADAL" clId="{3A6F4128-6482-4C75-8C7D-220A75826C22}" dt="2023-07-17T21:34:27.168" v="890" actId="478"/>
          <ac:spMkLst>
            <pc:docMk/>
            <pc:sldMk cId="3299819554" sldId="2146846386"/>
            <ac:spMk id="58" creationId="{477A9370-4EB7-D4FB-9C49-64212593232B}"/>
          </ac:spMkLst>
        </pc:spChg>
        <pc:spChg chg="del">
          <ac:chgData name="Md Fahim Hasan" userId="92968fce-d4dd-4b9e-8635-66a07c9f98a7" providerId="ADAL" clId="{3A6F4128-6482-4C75-8C7D-220A75826C22}" dt="2023-07-17T21:34:27.168" v="890" actId="478"/>
          <ac:spMkLst>
            <pc:docMk/>
            <pc:sldMk cId="3299819554" sldId="2146846386"/>
            <ac:spMk id="59" creationId="{90B4C7A6-1146-A4F7-F58B-CF1A5B25CD55}"/>
          </ac:spMkLst>
        </pc:spChg>
        <pc:spChg chg="del">
          <ac:chgData name="Md Fahim Hasan" userId="92968fce-d4dd-4b9e-8635-66a07c9f98a7" providerId="ADAL" clId="{3A6F4128-6482-4C75-8C7D-220A75826C22}" dt="2023-07-17T21:34:28.824" v="891" actId="478"/>
          <ac:spMkLst>
            <pc:docMk/>
            <pc:sldMk cId="3299819554" sldId="2146846386"/>
            <ac:spMk id="62" creationId="{6ACC9BD9-0A30-22E4-1AAE-B7B60C0DD078}"/>
          </ac:spMkLst>
        </pc:spChg>
        <pc:spChg chg="del">
          <ac:chgData name="Md Fahim Hasan" userId="92968fce-d4dd-4b9e-8635-66a07c9f98a7" providerId="ADAL" clId="{3A6F4128-6482-4C75-8C7D-220A75826C22}" dt="2023-07-17T21:34:27.168" v="890" actId="478"/>
          <ac:spMkLst>
            <pc:docMk/>
            <pc:sldMk cId="3299819554" sldId="2146846386"/>
            <ac:spMk id="63" creationId="{15AC1DFF-5986-2F03-33B5-C89C2ADF3A4F}"/>
          </ac:spMkLst>
        </pc:spChg>
        <pc:spChg chg="del">
          <ac:chgData name="Md Fahim Hasan" userId="92968fce-d4dd-4b9e-8635-66a07c9f98a7" providerId="ADAL" clId="{3A6F4128-6482-4C75-8C7D-220A75826C22}" dt="2023-07-17T21:34:27.168" v="890" actId="478"/>
          <ac:spMkLst>
            <pc:docMk/>
            <pc:sldMk cId="3299819554" sldId="2146846386"/>
            <ac:spMk id="67" creationId="{3D57C913-D685-7FBB-DAC9-D663C4A11301}"/>
          </ac:spMkLst>
        </pc:spChg>
        <pc:spChg chg="del">
          <ac:chgData name="Md Fahim Hasan" userId="92968fce-d4dd-4b9e-8635-66a07c9f98a7" providerId="ADAL" clId="{3A6F4128-6482-4C75-8C7D-220A75826C22}" dt="2023-07-17T21:34:27.168" v="890" actId="478"/>
          <ac:spMkLst>
            <pc:docMk/>
            <pc:sldMk cId="3299819554" sldId="2146846386"/>
            <ac:spMk id="68" creationId="{60A3FB28-B2FC-8C9E-D8BB-40907E553639}"/>
          </ac:spMkLst>
        </pc:spChg>
        <pc:spChg chg="del">
          <ac:chgData name="Md Fahim Hasan" userId="92968fce-d4dd-4b9e-8635-66a07c9f98a7" providerId="ADAL" clId="{3A6F4128-6482-4C75-8C7D-220A75826C22}" dt="2023-07-17T21:34:27.168" v="890" actId="478"/>
          <ac:spMkLst>
            <pc:docMk/>
            <pc:sldMk cId="3299819554" sldId="2146846386"/>
            <ac:spMk id="69" creationId="{1F2244A3-95C7-B48D-A6EF-2490C551608A}"/>
          </ac:spMkLst>
        </pc:spChg>
        <pc:cxnChg chg="add del mod">
          <ac:chgData name="Md Fahim Hasan" userId="92968fce-d4dd-4b9e-8635-66a07c9f98a7" providerId="ADAL" clId="{3A6F4128-6482-4C75-8C7D-220A75826C22}" dt="2023-07-21T22:23:05.622" v="13279" actId="478"/>
          <ac:cxnSpMkLst>
            <pc:docMk/>
            <pc:sldMk cId="3299819554" sldId="2146846386"/>
            <ac:cxnSpMk id="12" creationId="{3949C65D-F337-77F4-CBF2-3B5676CD78E1}"/>
          </ac:cxnSpMkLst>
        </pc:cxnChg>
        <pc:cxnChg chg="add del mod">
          <ac:chgData name="Md Fahim Hasan" userId="92968fce-d4dd-4b9e-8635-66a07c9f98a7" providerId="ADAL" clId="{3A6F4128-6482-4C75-8C7D-220A75826C22}" dt="2023-07-20T19:45:53.200" v="9911"/>
          <ac:cxnSpMkLst>
            <pc:docMk/>
            <pc:sldMk cId="3299819554" sldId="2146846386"/>
            <ac:cxnSpMk id="13" creationId="{A2C93E86-FEB4-40C8-A998-A09229446CE9}"/>
          </ac:cxnSpMkLst>
        </pc:cxnChg>
        <pc:cxnChg chg="add del mod">
          <ac:chgData name="Md Fahim Hasan" userId="92968fce-d4dd-4b9e-8635-66a07c9f98a7" providerId="ADAL" clId="{3A6F4128-6482-4C75-8C7D-220A75826C22}" dt="2023-07-17T21:49:40.410" v="1163" actId="478"/>
          <ac:cxnSpMkLst>
            <pc:docMk/>
            <pc:sldMk cId="3299819554" sldId="2146846386"/>
            <ac:cxnSpMk id="14" creationId="{2D87B00E-1DDE-87CE-A084-54F28D46426F}"/>
          </ac:cxnSpMkLst>
        </pc:cxnChg>
        <pc:cxnChg chg="add del mod">
          <ac:chgData name="Md Fahim Hasan" userId="92968fce-d4dd-4b9e-8635-66a07c9f98a7" providerId="ADAL" clId="{3A6F4128-6482-4C75-8C7D-220A75826C22}" dt="2023-07-21T22:23:05.622" v="13279" actId="478"/>
          <ac:cxnSpMkLst>
            <pc:docMk/>
            <pc:sldMk cId="3299819554" sldId="2146846386"/>
            <ac:cxnSpMk id="19" creationId="{EAEC5CB0-9F66-9866-7B24-3CB489200CF6}"/>
          </ac:cxnSpMkLst>
        </pc:cxnChg>
        <pc:cxnChg chg="add del mod">
          <ac:chgData name="Md Fahim Hasan" userId="92968fce-d4dd-4b9e-8635-66a07c9f98a7" providerId="ADAL" clId="{3A6F4128-6482-4C75-8C7D-220A75826C22}" dt="2023-07-21T22:23:05.622" v="13279" actId="478"/>
          <ac:cxnSpMkLst>
            <pc:docMk/>
            <pc:sldMk cId="3299819554" sldId="2146846386"/>
            <ac:cxnSpMk id="21" creationId="{633E4688-564C-41FB-BC65-5056A5B90144}"/>
          </ac:cxnSpMkLst>
        </pc:cxnChg>
        <pc:cxnChg chg="add del mod">
          <ac:chgData name="Md Fahim Hasan" userId="92968fce-d4dd-4b9e-8635-66a07c9f98a7" providerId="ADAL" clId="{3A6F4128-6482-4C75-8C7D-220A75826C22}" dt="2023-07-21T22:23:05.622" v="13279" actId="478"/>
          <ac:cxnSpMkLst>
            <pc:docMk/>
            <pc:sldMk cId="3299819554" sldId="2146846386"/>
            <ac:cxnSpMk id="22" creationId="{C9CE9F37-2325-294A-135B-F0550FAECF93}"/>
          </ac:cxnSpMkLst>
        </pc:cxnChg>
        <pc:cxnChg chg="add del mod">
          <ac:chgData name="Md Fahim Hasan" userId="92968fce-d4dd-4b9e-8635-66a07c9f98a7" providerId="ADAL" clId="{3A6F4128-6482-4C75-8C7D-220A75826C22}" dt="2023-07-21T22:23:05.622" v="13279" actId="478"/>
          <ac:cxnSpMkLst>
            <pc:docMk/>
            <pc:sldMk cId="3299819554" sldId="2146846386"/>
            <ac:cxnSpMk id="26" creationId="{9D846DE1-8546-CA57-885E-56A2C2534CCB}"/>
          </ac:cxnSpMkLst>
        </pc:cxnChg>
        <pc:cxnChg chg="add del mod">
          <ac:chgData name="Md Fahim Hasan" userId="92968fce-d4dd-4b9e-8635-66a07c9f98a7" providerId="ADAL" clId="{3A6F4128-6482-4C75-8C7D-220A75826C22}" dt="2023-07-21T22:23:05.622" v="13279" actId="478"/>
          <ac:cxnSpMkLst>
            <pc:docMk/>
            <pc:sldMk cId="3299819554" sldId="2146846386"/>
            <ac:cxnSpMk id="27" creationId="{8C78C693-EAAC-EB89-E338-90AAFBB17839}"/>
          </ac:cxnSpMkLst>
        </pc:cxnChg>
        <pc:cxnChg chg="add del mod">
          <ac:chgData name="Md Fahim Hasan" userId="92968fce-d4dd-4b9e-8635-66a07c9f98a7" providerId="ADAL" clId="{3A6F4128-6482-4C75-8C7D-220A75826C22}" dt="2023-07-21T22:23:05.622" v="13279" actId="478"/>
          <ac:cxnSpMkLst>
            <pc:docMk/>
            <pc:sldMk cId="3299819554" sldId="2146846386"/>
            <ac:cxnSpMk id="38" creationId="{54CB732F-EFAA-0062-81D8-400F002267C4}"/>
          </ac:cxnSpMkLst>
        </pc:cxnChg>
        <pc:cxnChg chg="add del mod">
          <ac:chgData name="Md Fahim Hasan" userId="92968fce-d4dd-4b9e-8635-66a07c9f98a7" providerId="ADAL" clId="{3A6F4128-6482-4C75-8C7D-220A75826C22}" dt="2023-07-17T22:03:02.418" v="1519" actId="478"/>
          <ac:cxnSpMkLst>
            <pc:docMk/>
            <pc:sldMk cId="3299819554" sldId="2146846386"/>
            <ac:cxnSpMk id="44" creationId="{BB7C9C98-7646-BD39-1D05-E7DA13380A12}"/>
          </ac:cxnSpMkLst>
        </pc:cxnChg>
        <pc:cxnChg chg="add del mod">
          <ac:chgData name="Md Fahim Hasan" userId="92968fce-d4dd-4b9e-8635-66a07c9f98a7" providerId="ADAL" clId="{3A6F4128-6482-4C75-8C7D-220A75826C22}" dt="2023-07-21T22:23:05.622" v="13279" actId="478"/>
          <ac:cxnSpMkLst>
            <pc:docMk/>
            <pc:sldMk cId="3299819554" sldId="2146846386"/>
            <ac:cxnSpMk id="46" creationId="{B50C30AB-5F63-C383-1BCF-41748E23BE0A}"/>
          </ac:cxnSpMkLst>
        </pc:cxnChg>
        <pc:cxnChg chg="add del mod">
          <ac:chgData name="Md Fahim Hasan" userId="92968fce-d4dd-4b9e-8635-66a07c9f98a7" providerId="ADAL" clId="{3A6F4128-6482-4C75-8C7D-220A75826C22}" dt="2023-07-17T22:03:11.311" v="1521" actId="478"/>
          <ac:cxnSpMkLst>
            <pc:docMk/>
            <pc:sldMk cId="3299819554" sldId="2146846386"/>
            <ac:cxnSpMk id="54" creationId="{D9E264DC-DB10-64D0-38CE-A908CF676516}"/>
          </ac:cxnSpMkLst>
        </pc:cxnChg>
        <pc:cxnChg chg="add del mod">
          <ac:chgData name="Md Fahim Hasan" userId="92968fce-d4dd-4b9e-8635-66a07c9f98a7" providerId="ADAL" clId="{3A6F4128-6482-4C75-8C7D-220A75826C22}" dt="2023-07-21T22:23:05.622" v="13279" actId="478"/>
          <ac:cxnSpMkLst>
            <pc:docMk/>
            <pc:sldMk cId="3299819554" sldId="2146846386"/>
            <ac:cxnSpMk id="56" creationId="{FE9C8553-0384-2641-7E80-E9CD677A1BB0}"/>
          </ac:cxnSpMkLst>
        </pc:cxnChg>
        <pc:cxnChg chg="del mod">
          <ac:chgData name="Md Fahim Hasan" userId="92968fce-d4dd-4b9e-8635-66a07c9f98a7" providerId="ADAL" clId="{3A6F4128-6482-4C75-8C7D-220A75826C22}" dt="2023-07-17T21:34:27.168" v="890" actId="478"/>
          <ac:cxnSpMkLst>
            <pc:docMk/>
            <pc:sldMk cId="3299819554" sldId="2146846386"/>
            <ac:cxnSpMk id="61" creationId="{36FD637E-E67B-7D24-5C59-101BCC9B20B1}"/>
          </ac:cxnSpMkLst>
        </pc:cxnChg>
        <pc:cxnChg chg="del mod">
          <ac:chgData name="Md Fahim Hasan" userId="92968fce-d4dd-4b9e-8635-66a07c9f98a7" providerId="ADAL" clId="{3A6F4128-6482-4C75-8C7D-220A75826C22}" dt="2023-07-17T21:34:27.168" v="890" actId="478"/>
          <ac:cxnSpMkLst>
            <pc:docMk/>
            <pc:sldMk cId="3299819554" sldId="2146846386"/>
            <ac:cxnSpMk id="64" creationId="{F8C37DCD-1BE8-D3DD-E51D-F73EC3236D8D}"/>
          </ac:cxnSpMkLst>
        </pc:cxnChg>
        <pc:cxnChg chg="add del mod">
          <ac:chgData name="Md Fahim Hasan" userId="92968fce-d4dd-4b9e-8635-66a07c9f98a7" providerId="ADAL" clId="{3A6F4128-6482-4C75-8C7D-220A75826C22}" dt="2023-07-21T22:23:05.622" v="13279" actId="478"/>
          <ac:cxnSpMkLst>
            <pc:docMk/>
            <pc:sldMk cId="3299819554" sldId="2146846386"/>
            <ac:cxnSpMk id="74" creationId="{7C59F5D8-CB92-52E7-C960-05BF652B3B6E}"/>
          </ac:cxnSpMkLst>
        </pc:cxnChg>
      </pc:sldChg>
      <pc:sldChg chg="addSp delSp modSp add mod modAnim">
        <pc:chgData name="Md Fahim Hasan" userId="92968fce-d4dd-4b9e-8635-66a07c9f98a7" providerId="ADAL" clId="{3A6F4128-6482-4C75-8C7D-220A75826C22}" dt="2023-07-27T20:23:18.761" v="37926" actId="113"/>
        <pc:sldMkLst>
          <pc:docMk/>
          <pc:sldMk cId="3028212172" sldId="2146846387"/>
        </pc:sldMkLst>
        <pc:spChg chg="mod">
          <ac:chgData name="Md Fahim Hasan" userId="92968fce-d4dd-4b9e-8635-66a07c9f98a7" providerId="ADAL" clId="{3A6F4128-6482-4C75-8C7D-220A75826C22}" dt="2023-07-26T18:26:50.370" v="24703" actId="6549"/>
          <ac:spMkLst>
            <pc:docMk/>
            <pc:sldMk cId="3028212172" sldId="2146846387"/>
            <ac:spMk id="2" creationId="{D423FFAF-9CDC-ACC2-E90E-850A37957BAA}"/>
          </ac:spMkLst>
        </pc:spChg>
        <pc:spChg chg="mod">
          <ac:chgData name="Md Fahim Hasan" userId="92968fce-d4dd-4b9e-8635-66a07c9f98a7" providerId="ADAL" clId="{3A6F4128-6482-4C75-8C7D-220A75826C22}" dt="2023-07-17T22:11:28.426" v="1615" actId="1076"/>
          <ac:spMkLst>
            <pc:docMk/>
            <pc:sldMk cId="3028212172" sldId="2146846387"/>
            <ac:spMk id="3" creationId="{BBE374DC-2B4D-CC21-509C-1EE76C7459BF}"/>
          </ac:spMkLst>
        </pc:spChg>
        <pc:spChg chg="del">
          <ac:chgData name="Md Fahim Hasan" userId="92968fce-d4dd-4b9e-8635-66a07c9f98a7" providerId="ADAL" clId="{3A6F4128-6482-4C75-8C7D-220A75826C22}" dt="2023-07-17T22:11:19.865" v="1614" actId="478"/>
          <ac:spMkLst>
            <pc:docMk/>
            <pc:sldMk cId="3028212172" sldId="2146846387"/>
            <ac:spMk id="4" creationId="{6E725962-AA6E-3764-10EC-09E349BF7BE0}"/>
          </ac:spMkLst>
        </pc:spChg>
        <pc:spChg chg="mod">
          <ac:chgData name="Md Fahim Hasan" userId="92968fce-d4dd-4b9e-8635-66a07c9f98a7" providerId="ADAL" clId="{3A6F4128-6482-4C75-8C7D-220A75826C22}" dt="2023-07-27T15:51:58.279" v="35706"/>
          <ac:spMkLst>
            <pc:docMk/>
            <pc:sldMk cId="3028212172" sldId="2146846387"/>
            <ac:spMk id="4" creationId="{D043F8F3-BE8A-7F42-F82A-E7E5540DE677}"/>
          </ac:spMkLst>
        </pc:spChg>
        <pc:spChg chg="mod">
          <ac:chgData name="Md Fahim Hasan" userId="92968fce-d4dd-4b9e-8635-66a07c9f98a7" providerId="ADAL" clId="{3A6F4128-6482-4C75-8C7D-220A75826C22}" dt="2023-07-17T22:11:28.426" v="1615" actId="1076"/>
          <ac:spMkLst>
            <pc:docMk/>
            <pc:sldMk cId="3028212172" sldId="2146846387"/>
            <ac:spMk id="5" creationId="{9F7F57A7-442D-82AB-3AD9-521A308C82AF}"/>
          </ac:spMkLst>
        </pc:spChg>
        <pc:spChg chg="mod">
          <ac:chgData name="Md Fahim Hasan" userId="92968fce-d4dd-4b9e-8635-66a07c9f98a7" providerId="ADAL" clId="{3A6F4128-6482-4C75-8C7D-220A75826C22}" dt="2023-07-17T22:11:28.426" v="1615" actId="1076"/>
          <ac:spMkLst>
            <pc:docMk/>
            <pc:sldMk cId="3028212172" sldId="2146846387"/>
            <ac:spMk id="6" creationId="{D027ECB3-9E9A-490C-3B18-F9FAFF0F379D}"/>
          </ac:spMkLst>
        </pc:spChg>
        <pc:spChg chg="mod">
          <ac:chgData name="Md Fahim Hasan" userId="92968fce-d4dd-4b9e-8635-66a07c9f98a7" providerId="ADAL" clId="{3A6F4128-6482-4C75-8C7D-220A75826C22}" dt="2023-07-17T22:11:28.426" v="1615" actId="1076"/>
          <ac:spMkLst>
            <pc:docMk/>
            <pc:sldMk cId="3028212172" sldId="2146846387"/>
            <ac:spMk id="7" creationId="{42710935-B651-FC59-77DA-0FCAAAFDFECA}"/>
          </ac:spMkLst>
        </pc:spChg>
        <pc:spChg chg="mod">
          <ac:chgData name="Md Fahim Hasan" userId="92968fce-d4dd-4b9e-8635-66a07c9f98a7" providerId="ADAL" clId="{3A6F4128-6482-4C75-8C7D-220A75826C22}" dt="2023-07-18T18:29:34.281" v="4610" actId="20577"/>
          <ac:spMkLst>
            <pc:docMk/>
            <pc:sldMk cId="3028212172" sldId="2146846387"/>
            <ac:spMk id="8" creationId="{A4B40D14-0A2C-A05B-A83A-19A0895929AA}"/>
          </ac:spMkLst>
        </pc:spChg>
        <pc:spChg chg="mod">
          <ac:chgData name="Md Fahim Hasan" userId="92968fce-d4dd-4b9e-8635-66a07c9f98a7" providerId="ADAL" clId="{3A6F4128-6482-4C75-8C7D-220A75826C22}" dt="2023-07-27T20:23:18.761" v="37926" actId="113"/>
          <ac:spMkLst>
            <pc:docMk/>
            <pc:sldMk cId="3028212172" sldId="2146846387"/>
            <ac:spMk id="9" creationId="{DCE765C9-F866-A10C-05BC-B0F5CF7D4FA9}"/>
          </ac:spMkLst>
        </pc:spChg>
        <pc:spChg chg="mod">
          <ac:chgData name="Md Fahim Hasan" userId="92968fce-d4dd-4b9e-8635-66a07c9f98a7" providerId="ADAL" clId="{3A6F4128-6482-4C75-8C7D-220A75826C22}" dt="2023-07-17T22:11:28.426" v="1615" actId="1076"/>
          <ac:spMkLst>
            <pc:docMk/>
            <pc:sldMk cId="3028212172" sldId="2146846387"/>
            <ac:spMk id="10" creationId="{2393CE26-9104-47DD-1444-9251A959AAF8}"/>
          </ac:spMkLst>
        </pc:spChg>
        <pc:spChg chg="add mod">
          <ac:chgData name="Md Fahim Hasan" userId="92968fce-d4dd-4b9e-8635-66a07c9f98a7" providerId="ADAL" clId="{3A6F4128-6482-4C75-8C7D-220A75826C22}" dt="2023-07-26T18:29:04.882" v="24833" actId="20577"/>
          <ac:spMkLst>
            <pc:docMk/>
            <pc:sldMk cId="3028212172" sldId="2146846387"/>
            <ac:spMk id="13" creationId="{137E2CE9-EBB9-47F2-D448-6F87B80F8B98}"/>
          </ac:spMkLst>
        </pc:spChg>
        <pc:spChg chg="mod">
          <ac:chgData name="Md Fahim Hasan" userId="92968fce-d4dd-4b9e-8635-66a07c9f98a7" providerId="ADAL" clId="{3A6F4128-6482-4C75-8C7D-220A75826C22}" dt="2023-07-17T22:11:28.426" v="1615" actId="1076"/>
          <ac:spMkLst>
            <pc:docMk/>
            <pc:sldMk cId="3028212172" sldId="2146846387"/>
            <ac:spMk id="16" creationId="{84F5F83C-35E6-5099-E1AF-3CD54D9B2E5D}"/>
          </ac:spMkLst>
        </pc:spChg>
        <pc:spChg chg="mod">
          <ac:chgData name="Md Fahim Hasan" userId="92968fce-d4dd-4b9e-8635-66a07c9f98a7" providerId="ADAL" clId="{3A6F4128-6482-4C75-8C7D-220A75826C22}" dt="2023-07-27T14:44:04.435" v="34946" actId="20577"/>
          <ac:spMkLst>
            <pc:docMk/>
            <pc:sldMk cId="3028212172" sldId="2146846387"/>
            <ac:spMk id="17" creationId="{312523D9-B3BC-1E8B-706E-D99E9EB5EB72}"/>
          </ac:spMkLst>
        </pc:spChg>
        <pc:spChg chg="add mod">
          <ac:chgData name="Md Fahim Hasan" userId="92968fce-d4dd-4b9e-8635-66a07c9f98a7" providerId="ADAL" clId="{3A6F4128-6482-4C75-8C7D-220A75826C22}" dt="2023-07-17T22:23:21.358" v="1754" actId="208"/>
          <ac:spMkLst>
            <pc:docMk/>
            <pc:sldMk cId="3028212172" sldId="2146846387"/>
            <ac:spMk id="29" creationId="{8CD0F935-01B0-9D95-506D-764C60647B30}"/>
          </ac:spMkLst>
        </pc:spChg>
        <pc:spChg chg="mod">
          <ac:chgData name="Md Fahim Hasan" userId="92968fce-d4dd-4b9e-8635-66a07c9f98a7" providerId="ADAL" clId="{3A6F4128-6482-4C75-8C7D-220A75826C22}" dt="2023-07-17T22:11:28.426" v="1615" actId="1076"/>
          <ac:spMkLst>
            <pc:docMk/>
            <pc:sldMk cId="3028212172" sldId="2146846387"/>
            <ac:spMk id="41" creationId="{AF888FBF-A457-95EB-8F40-9876975F7B07}"/>
          </ac:spMkLst>
        </pc:spChg>
        <pc:spChg chg="mod">
          <ac:chgData name="Md Fahim Hasan" userId="92968fce-d4dd-4b9e-8635-66a07c9f98a7" providerId="ADAL" clId="{3A6F4128-6482-4C75-8C7D-220A75826C22}" dt="2023-07-26T18:26:55.583" v="24705" actId="20577"/>
          <ac:spMkLst>
            <pc:docMk/>
            <pc:sldMk cId="3028212172" sldId="2146846387"/>
            <ac:spMk id="49" creationId="{19C589D2-8479-4B0D-4A80-DEFC3E7C4CC5}"/>
          </ac:spMkLst>
        </pc:spChg>
        <pc:spChg chg="add mod">
          <ac:chgData name="Md Fahim Hasan" userId="92968fce-d4dd-4b9e-8635-66a07c9f98a7" providerId="ADAL" clId="{3A6F4128-6482-4C75-8C7D-220A75826C22}" dt="2023-07-21T22:22:06.860" v="13272" actId="113"/>
          <ac:spMkLst>
            <pc:docMk/>
            <pc:sldMk cId="3028212172" sldId="2146846387"/>
            <ac:spMk id="58" creationId="{FD8AE705-62F3-6720-69B6-2F00BA9FD743}"/>
          </ac:spMkLst>
        </pc:spChg>
        <pc:cxnChg chg="add mod">
          <ac:chgData name="Md Fahim Hasan" userId="92968fce-d4dd-4b9e-8635-66a07c9f98a7" providerId="ADAL" clId="{3A6F4128-6482-4C75-8C7D-220A75826C22}" dt="2023-07-17T22:17:33.870" v="1701" actId="208"/>
          <ac:cxnSpMkLst>
            <pc:docMk/>
            <pc:sldMk cId="3028212172" sldId="2146846387"/>
            <ac:cxnSpMk id="11" creationId="{0D18F2EC-EA7D-193C-08EE-A31406043253}"/>
          </ac:cxnSpMkLst>
        </pc:cxnChg>
        <pc:cxnChg chg="mod">
          <ac:chgData name="Md Fahim Hasan" userId="92968fce-d4dd-4b9e-8635-66a07c9f98a7" providerId="ADAL" clId="{3A6F4128-6482-4C75-8C7D-220A75826C22}" dt="2023-07-17T22:11:28.426" v="1615" actId="1076"/>
          <ac:cxnSpMkLst>
            <pc:docMk/>
            <pc:sldMk cId="3028212172" sldId="2146846387"/>
            <ac:cxnSpMk id="12" creationId="{3949C65D-F337-77F4-CBF2-3B5676CD78E1}"/>
          </ac:cxnSpMkLst>
        </pc:cxnChg>
        <pc:cxnChg chg="mod">
          <ac:chgData name="Md Fahim Hasan" userId="92968fce-d4dd-4b9e-8635-66a07c9f98a7" providerId="ADAL" clId="{3A6F4128-6482-4C75-8C7D-220A75826C22}" dt="2023-07-17T22:11:28.426" v="1615" actId="1076"/>
          <ac:cxnSpMkLst>
            <pc:docMk/>
            <pc:sldMk cId="3028212172" sldId="2146846387"/>
            <ac:cxnSpMk id="19" creationId="{EAEC5CB0-9F66-9866-7B24-3CB489200CF6}"/>
          </ac:cxnSpMkLst>
        </pc:cxnChg>
        <pc:cxnChg chg="mod">
          <ac:chgData name="Md Fahim Hasan" userId="92968fce-d4dd-4b9e-8635-66a07c9f98a7" providerId="ADAL" clId="{3A6F4128-6482-4C75-8C7D-220A75826C22}" dt="2023-07-17T22:11:28.426" v="1615" actId="1076"/>
          <ac:cxnSpMkLst>
            <pc:docMk/>
            <pc:sldMk cId="3028212172" sldId="2146846387"/>
            <ac:cxnSpMk id="22" creationId="{C9CE9F37-2325-294A-135B-F0550FAECF93}"/>
          </ac:cxnSpMkLst>
        </pc:cxnChg>
        <pc:cxnChg chg="mod">
          <ac:chgData name="Md Fahim Hasan" userId="92968fce-d4dd-4b9e-8635-66a07c9f98a7" providerId="ADAL" clId="{3A6F4128-6482-4C75-8C7D-220A75826C22}" dt="2023-07-17T22:11:28.426" v="1615" actId="1076"/>
          <ac:cxnSpMkLst>
            <pc:docMk/>
            <pc:sldMk cId="3028212172" sldId="2146846387"/>
            <ac:cxnSpMk id="26" creationId="{9D846DE1-8546-CA57-885E-56A2C2534CCB}"/>
          </ac:cxnSpMkLst>
        </pc:cxnChg>
        <pc:cxnChg chg="mod">
          <ac:chgData name="Md Fahim Hasan" userId="92968fce-d4dd-4b9e-8635-66a07c9f98a7" providerId="ADAL" clId="{3A6F4128-6482-4C75-8C7D-220A75826C22}" dt="2023-07-17T22:11:28.426" v="1615" actId="1076"/>
          <ac:cxnSpMkLst>
            <pc:docMk/>
            <pc:sldMk cId="3028212172" sldId="2146846387"/>
            <ac:cxnSpMk id="27" creationId="{8C78C693-EAAC-EB89-E338-90AAFBB17839}"/>
          </ac:cxnSpMkLst>
        </pc:cxnChg>
        <pc:cxnChg chg="add mod">
          <ac:chgData name="Md Fahim Hasan" userId="92968fce-d4dd-4b9e-8635-66a07c9f98a7" providerId="ADAL" clId="{3A6F4128-6482-4C75-8C7D-220A75826C22}" dt="2023-07-26T18:28:42.244" v="24811" actId="14100"/>
          <ac:cxnSpMkLst>
            <pc:docMk/>
            <pc:sldMk cId="3028212172" sldId="2146846387"/>
            <ac:cxnSpMk id="35" creationId="{8E245135-CCF3-79B5-77FB-7A3A1A6DC4BD}"/>
          </ac:cxnSpMkLst>
        </pc:cxnChg>
        <pc:cxnChg chg="mod">
          <ac:chgData name="Md Fahim Hasan" userId="92968fce-d4dd-4b9e-8635-66a07c9f98a7" providerId="ADAL" clId="{3A6F4128-6482-4C75-8C7D-220A75826C22}" dt="2023-07-17T22:11:28.426" v="1615" actId="1076"/>
          <ac:cxnSpMkLst>
            <pc:docMk/>
            <pc:sldMk cId="3028212172" sldId="2146846387"/>
            <ac:cxnSpMk id="38" creationId="{54CB732F-EFAA-0062-81D8-400F002267C4}"/>
          </ac:cxnSpMkLst>
        </pc:cxnChg>
        <pc:cxnChg chg="mod">
          <ac:chgData name="Md Fahim Hasan" userId="92968fce-d4dd-4b9e-8635-66a07c9f98a7" providerId="ADAL" clId="{3A6F4128-6482-4C75-8C7D-220A75826C22}" dt="2023-07-17T22:21:18.520" v="1737" actId="692"/>
          <ac:cxnSpMkLst>
            <pc:docMk/>
            <pc:sldMk cId="3028212172" sldId="2146846387"/>
            <ac:cxnSpMk id="46" creationId="{B50C30AB-5F63-C383-1BCF-41748E23BE0A}"/>
          </ac:cxnSpMkLst>
        </pc:cxnChg>
        <pc:cxnChg chg="add mod">
          <ac:chgData name="Md Fahim Hasan" userId="92968fce-d4dd-4b9e-8635-66a07c9f98a7" providerId="ADAL" clId="{3A6F4128-6482-4C75-8C7D-220A75826C22}" dt="2023-07-17T22:18:05.777" v="1705" actId="14100"/>
          <ac:cxnSpMkLst>
            <pc:docMk/>
            <pc:sldMk cId="3028212172" sldId="2146846387"/>
            <ac:cxnSpMk id="54" creationId="{7E3A8081-2E8A-BDF2-6E2D-38657E14DCA2}"/>
          </ac:cxnSpMkLst>
        </pc:cxnChg>
        <pc:cxnChg chg="mod">
          <ac:chgData name="Md Fahim Hasan" userId="92968fce-d4dd-4b9e-8635-66a07c9f98a7" providerId="ADAL" clId="{3A6F4128-6482-4C75-8C7D-220A75826C22}" dt="2023-07-26T18:28:47.770" v="24812" actId="14100"/>
          <ac:cxnSpMkLst>
            <pc:docMk/>
            <pc:sldMk cId="3028212172" sldId="2146846387"/>
            <ac:cxnSpMk id="56" creationId="{FE9C8553-0384-2641-7E80-E9CD677A1BB0}"/>
          </ac:cxnSpMkLst>
        </pc:cxnChg>
        <pc:cxnChg chg="mod">
          <ac:chgData name="Md Fahim Hasan" userId="92968fce-d4dd-4b9e-8635-66a07c9f98a7" providerId="ADAL" clId="{3A6F4128-6482-4C75-8C7D-220A75826C22}" dt="2023-07-17T22:11:28.426" v="1615" actId="1076"/>
          <ac:cxnSpMkLst>
            <pc:docMk/>
            <pc:sldMk cId="3028212172" sldId="2146846387"/>
            <ac:cxnSpMk id="74" creationId="{7C59F5D8-CB92-52E7-C960-05BF652B3B6E}"/>
          </ac:cxnSpMkLst>
        </pc:cxnChg>
      </pc:sldChg>
      <pc:sldChg chg="addSp delSp modSp add mod ord delAnim modAnim modShow modNotesTx">
        <pc:chgData name="Md Fahim Hasan" userId="92968fce-d4dd-4b9e-8635-66a07c9f98a7" providerId="ADAL" clId="{3A6F4128-6482-4C75-8C7D-220A75826C22}" dt="2023-07-28T19:09:13.997" v="39265" actId="729"/>
        <pc:sldMkLst>
          <pc:docMk/>
          <pc:sldMk cId="50484898" sldId="2146846388"/>
        </pc:sldMkLst>
        <pc:spChg chg="mod">
          <ac:chgData name="Md Fahim Hasan" userId="92968fce-d4dd-4b9e-8635-66a07c9f98a7" providerId="ADAL" clId="{3A6F4128-6482-4C75-8C7D-220A75826C22}" dt="2023-07-27T15:51:58.279" v="35706"/>
          <ac:spMkLst>
            <pc:docMk/>
            <pc:sldMk cId="50484898" sldId="2146846388"/>
            <ac:spMk id="2" creationId="{8B52B355-12CD-54DA-334B-DE563A6E7CFB}"/>
          </ac:spMkLst>
        </pc:spChg>
        <pc:spChg chg="del">
          <ac:chgData name="Md Fahim Hasan" userId="92968fce-d4dd-4b9e-8635-66a07c9f98a7" providerId="ADAL" clId="{3A6F4128-6482-4C75-8C7D-220A75826C22}" dt="2023-07-17T22:34:03.801" v="1772" actId="478"/>
          <ac:spMkLst>
            <pc:docMk/>
            <pc:sldMk cId="50484898" sldId="2146846388"/>
            <ac:spMk id="2" creationId="{D423FFAF-9CDC-ACC2-E90E-850A37957BAA}"/>
          </ac:spMkLst>
        </pc:spChg>
        <pc:spChg chg="del">
          <ac:chgData name="Md Fahim Hasan" userId="92968fce-d4dd-4b9e-8635-66a07c9f98a7" providerId="ADAL" clId="{3A6F4128-6482-4C75-8C7D-220A75826C22}" dt="2023-07-17T22:34:03.801" v="1772" actId="478"/>
          <ac:spMkLst>
            <pc:docMk/>
            <pc:sldMk cId="50484898" sldId="2146846388"/>
            <ac:spMk id="3" creationId="{BBE374DC-2B4D-CC21-509C-1EE76C7459BF}"/>
          </ac:spMkLst>
        </pc:spChg>
        <pc:spChg chg="add del mod">
          <ac:chgData name="Md Fahim Hasan" userId="92968fce-d4dd-4b9e-8635-66a07c9f98a7" providerId="ADAL" clId="{3A6F4128-6482-4C75-8C7D-220A75826C22}" dt="2023-07-21T22:28:54.802" v="13468" actId="478"/>
          <ac:spMkLst>
            <pc:docMk/>
            <pc:sldMk cId="50484898" sldId="2146846388"/>
            <ac:spMk id="4" creationId="{59A6018B-9E1B-2CF1-7DA2-59B339EE12B2}"/>
          </ac:spMkLst>
        </pc:spChg>
        <pc:spChg chg="del">
          <ac:chgData name="Md Fahim Hasan" userId="92968fce-d4dd-4b9e-8635-66a07c9f98a7" providerId="ADAL" clId="{3A6F4128-6482-4C75-8C7D-220A75826C22}" dt="2023-07-17T22:34:05.794" v="1773" actId="478"/>
          <ac:spMkLst>
            <pc:docMk/>
            <pc:sldMk cId="50484898" sldId="2146846388"/>
            <ac:spMk id="5" creationId="{9F7F57A7-442D-82AB-3AD9-521A308C82AF}"/>
          </ac:spMkLst>
        </pc:spChg>
        <pc:spChg chg="del">
          <ac:chgData name="Md Fahim Hasan" userId="92968fce-d4dd-4b9e-8635-66a07c9f98a7" providerId="ADAL" clId="{3A6F4128-6482-4C75-8C7D-220A75826C22}" dt="2023-07-17T22:34:03.801" v="1772" actId="478"/>
          <ac:spMkLst>
            <pc:docMk/>
            <pc:sldMk cId="50484898" sldId="2146846388"/>
            <ac:spMk id="6" creationId="{D027ECB3-9E9A-490C-3B18-F9FAFF0F379D}"/>
          </ac:spMkLst>
        </pc:spChg>
        <pc:spChg chg="del">
          <ac:chgData name="Md Fahim Hasan" userId="92968fce-d4dd-4b9e-8635-66a07c9f98a7" providerId="ADAL" clId="{3A6F4128-6482-4C75-8C7D-220A75826C22}" dt="2023-07-17T22:34:03.801" v="1772" actId="478"/>
          <ac:spMkLst>
            <pc:docMk/>
            <pc:sldMk cId="50484898" sldId="2146846388"/>
            <ac:spMk id="7" creationId="{42710935-B651-FC59-77DA-0FCAAAFDFECA}"/>
          </ac:spMkLst>
        </pc:spChg>
        <pc:spChg chg="del">
          <ac:chgData name="Md Fahim Hasan" userId="92968fce-d4dd-4b9e-8635-66a07c9f98a7" providerId="ADAL" clId="{3A6F4128-6482-4C75-8C7D-220A75826C22}" dt="2023-07-17T22:34:03.801" v="1772" actId="478"/>
          <ac:spMkLst>
            <pc:docMk/>
            <pc:sldMk cId="50484898" sldId="2146846388"/>
            <ac:spMk id="8" creationId="{A4B40D14-0A2C-A05B-A83A-19A0895929AA}"/>
          </ac:spMkLst>
        </pc:spChg>
        <pc:spChg chg="mod">
          <ac:chgData name="Md Fahim Hasan" userId="92968fce-d4dd-4b9e-8635-66a07c9f98a7" providerId="ADAL" clId="{3A6F4128-6482-4C75-8C7D-220A75826C22}" dt="2023-07-25T17:04:40.097" v="18226" actId="20577"/>
          <ac:spMkLst>
            <pc:docMk/>
            <pc:sldMk cId="50484898" sldId="2146846388"/>
            <ac:spMk id="9" creationId="{DCE765C9-F866-A10C-05BC-B0F5CF7D4FA9}"/>
          </ac:spMkLst>
        </pc:spChg>
        <pc:spChg chg="del">
          <ac:chgData name="Md Fahim Hasan" userId="92968fce-d4dd-4b9e-8635-66a07c9f98a7" providerId="ADAL" clId="{3A6F4128-6482-4C75-8C7D-220A75826C22}" dt="2023-07-17T22:34:03.801" v="1772" actId="478"/>
          <ac:spMkLst>
            <pc:docMk/>
            <pc:sldMk cId="50484898" sldId="2146846388"/>
            <ac:spMk id="10" creationId="{2393CE26-9104-47DD-1444-9251A959AAF8}"/>
          </ac:spMkLst>
        </pc:spChg>
        <pc:spChg chg="add del mod">
          <ac:chgData name="Md Fahim Hasan" userId="92968fce-d4dd-4b9e-8635-66a07c9f98a7" providerId="ADAL" clId="{3A6F4128-6482-4C75-8C7D-220A75826C22}" dt="2023-07-21T14:30:19.581" v="10043" actId="478"/>
          <ac:spMkLst>
            <pc:docMk/>
            <pc:sldMk cId="50484898" sldId="2146846388"/>
            <ac:spMk id="14" creationId="{C1FF783D-9D48-5F9F-F53C-427DF5C7F34C}"/>
          </ac:spMkLst>
        </pc:spChg>
        <pc:spChg chg="del">
          <ac:chgData name="Md Fahim Hasan" userId="92968fce-d4dd-4b9e-8635-66a07c9f98a7" providerId="ADAL" clId="{3A6F4128-6482-4C75-8C7D-220A75826C22}" dt="2023-07-17T22:34:03.801" v="1772" actId="478"/>
          <ac:spMkLst>
            <pc:docMk/>
            <pc:sldMk cId="50484898" sldId="2146846388"/>
            <ac:spMk id="16" creationId="{84F5F83C-35E6-5099-E1AF-3CD54D9B2E5D}"/>
          </ac:spMkLst>
        </pc:spChg>
        <pc:spChg chg="del">
          <ac:chgData name="Md Fahim Hasan" userId="92968fce-d4dd-4b9e-8635-66a07c9f98a7" providerId="ADAL" clId="{3A6F4128-6482-4C75-8C7D-220A75826C22}" dt="2023-07-17T22:34:03.801" v="1772" actId="478"/>
          <ac:spMkLst>
            <pc:docMk/>
            <pc:sldMk cId="50484898" sldId="2146846388"/>
            <ac:spMk id="17" creationId="{312523D9-B3BC-1E8B-706E-D99E9EB5EB72}"/>
          </ac:spMkLst>
        </pc:spChg>
        <pc:spChg chg="add del mod">
          <ac:chgData name="Md Fahim Hasan" userId="92968fce-d4dd-4b9e-8635-66a07c9f98a7" providerId="ADAL" clId="{3A6F4128-6482-4C75-8C7D-220A75826C22}" dt="2023-07-21T22:21:09.454" v="13195" actId="478"/>
          <ac:spMkLst>
            <pc:docMk/>
            <pc:sldMk cId="50484898" sldId="2146846388"/>
            <ac:spMk id="18" creationId="{40D5597F-54EF-1475-073B-DAC1B7EDD096}"/>
          </ac:spMkLst>
        </pc:spChg>
        <pc:spChg chg="add mod">
          <ac:chgData name="Md Fahim Hasan" userId="92968fce-d4dd-4b9e-8635-66a07c9f98a7" providerId="ADAL" clId="{3A6F4128-6482-4C75-8C7D-220A75826C22}" dt="2023-07-27T14:45:30.525" v="34952" actId="115"/>
          <ac:spMkLst>
            <pc:docMk/>
            <pc:sldMk cId="50484898" sldId="2146846388"/>
            <ac:spMk id="20" creationId="{D8E263AE-6047-CA16-0E7E-853CAB8E6BF3}"/>
          </ac:spMkLst>
        </pc:spChg>
        <pc:spChg chg="del">
          <ac:chgData name="Md Fahim Hasan" userId="92968fce-d4dd-4b9e-8635-66a07c9f98a7" providerId="ADAL" clId="{3A6F4128-6482-4C75-8C7D-220A75826C22}" dt="2023-07-17T22:34:03.801" v="1772" actId="478"/>
          <ac:spMkLst>
            <pc:docMk/>
            <pc:sldMk cId="50484898" sldId="2146846388"/>
            <ac:spMk id="29" creationId="{8CD0F935-01B0-9D95-506D-764C60647B30}"/>
          </ac:spMkLst>
        </pc:spChg>
        <pc:spChg chg="del">
          <ac:chgData name="Md Fahim Hasan" userId="92968fce-d4dd-4b9e-8635-66a07c9f98a7" providerId="ADAL" clId="{3A6F4128-6482-4C75-8C7D-220A75826C22}" dt="2023-07-17T22:34:03.801" v="1772" actId="478"/>
          <ac:spMkLst>
            <pc:docMk/>
            <pc:sldMk cId="50484898" sldId="2146846388"/>
            <ac:spMk id="41" creationId="{AF888FBF-A457-95EB-8F40-9876975F7B07}"/>
          </ac:spMkLst>
        </pc:spChg>
        <pc:spChg chg="del">
          <ac:chgData name="Md Fahim Hasan" userId="92968fce-d4dd-4b9e-8635-66a07c9f98a7" providerId="ADAL" clId="{3A6F4128-6482-4C75-8C7D-220A75826C22}" dt="2023-07-17T22:34:07" v="1774" actId="478"/>
          <ac:spMkLst>
            <pc:docMk/>
            <pc:sldMk cId="50484898" sldId="2146846388"/>
            <ac:spMk id="49" creationId="{19C589D2-8479-4B0D-4A80-DEFC3E7C4CC5}"/>
          </ac:spMkLst>
        </pc:spChg>
        <pc:spChg chg="del">
          <ac:chgData name="Md Fahim Hasan" userId="92968fce-d4dd-4b9e-8635-66a07c9f98a7" providerId="ADAL" clId="{3A6F4128-6482-4C75-8C7D-220A75826C22}" dt="2023-07-17T22:34:08.394" v="1775" actId="478"/>
          <ac:spMkLst>
            <pc:docMk/>
            <pc:sldMk cId="50484898" sldId="2146846388"/>
            <ac:spMk id="58" creationId="{FD8AE705-62F3-6720-69B6-2F00BA9FD743}"/>
          </ac:spMkLst>
        </pc:spChg>
        <pc:cxnChg chg="del mod">
          <ac:chgData name="Md Fahim Hasan" userId="92968fce-d4dd-4b9e-8635-66a07c9f98a7" providerId="ADAL" clId="{3A6F4128-6482-4C75-8C7D-220A75826C22}" dt="2023-07-17T22:34:03.801" v="1772" actId="478"/>
          <ac:cxnSpMkLst>
            <pc:docMk/>
            <pc:sldMk cId="50484898" sldId="2146846388"/>
            <ac:cxnSpMk id="11" creationId="{0D18F2EC-EA7D-193C-08EE-A31406043253}"/>
          </ac:cxnSpMkLst>
        </pc:cxnChg>
        <pc:cxnChg chg="del mod">
          <ac:chgData name="Md Fahim Hasan" userId="92968fce-d4dd-4b9e-8635-66a07c9f98a7" providerId="ADAL" clId="{3A6F4128-6482-4C75-8C7D-220A75826C22}" dt="2023-07-17T22:34:03.801" v="1772" actId="478"/>
          <ac:cxnSpMkLst>
            <pc:docMk/>
            <pc:sldMk cId="50484898" sldId="2146846388"/>
            <ac:cxnSpMk id="12" creationId="{3949C65D-F337-77F4-CBF2-3B5676CD78E1}"/>
          </ac:cxnSpMkLst>
        </pc:cxnChg>
        <pc:cxnChg chg="del mod">
          <ac:chgData name="Md Fahim Hasan" userId="92968fce-d4dd-4b9e-8635-66a07c9f98a7" providerId="ADAL" clId="{3A6F4128-6482-4C75-8C7D-220A75826C22}" dt="2023-07-17T22:34:03.801" v="1772" actId="478"/>
          <ac:cxnSpMkLst>
            <pc:docMk/>
            <pc:sldMk cId="50484898" sldId="2146846388"/>
            <ac:cxnSpMk id="19" creationId="{EAEC5CB0-9F66-9866-7B24-3CB489200CF6}"/>
          </ac:cxnSpMkLst>
        </pc:cxnChg>
        <pc:cxnChg chg="del mod">
          <ac:chgData name="Md Fahim Hasan" userId="92968fce-d4dd-4b9e-8635-66a07c9f98a7" providerId="ADAL" clId="{3A6F4128-6482-4C75-8C7D-220A75826C22}" dt="2023-07-17T22:34:03.801" v="1772" actId="478"/>
          <ac:cxnSpMkLst>
            <pc:docMk/>
            <pc:sldMk cId="50484898" sldId="2146846388"/>
            <ac:cxnSpMk id="22" creationId="{C9CE9F37-2325-294A-135B-F0550FAECF93}"/>
          </ac:cxnSpMkLst>
        </pc:cxnChg>
        <pc:cxnChg chg="del mod">
          <ac:chgData name="Md Fahim Hasan" userId="92968fce-d4dd-4b9e-8635-66a07c9f98a7" providerId="ADAL" clId="{3A6F4128-6482-4C75-8C7D-220A75826C22}" dt="2023-07-17T22:34:03.801" v="1772" actId="478"/>
          <ac:cxnSpMkLst>
            <pc:docMk/>
            <pc:sldMk cId="50484898" sldId="2146846388"/>
            <ac:cxnSpMk id="26" creationId="{9D846DE1-8546-CA57-885E-56A2C2534CCB}"/>
          </ac:cxnSpMkLst>
        </pc:cxnChg>
        <pc:cxnChg chg="del mod">
          <ac:chgData name="Md Fahim Hasan" userId="92968fce-d4dd-4b9e-8635-66a07c9f98a7" providerId="ADAL" clId="{3A6F4128-6482-4C75-8C7D-220A75826C22}" dt="2023-07-17T22:34:03.801" v="1772" actId="478"/>
          <ac:cxnSpMkLst>
            <pc:docMk/>
            <pc:sldMk cId="50484898" sldId="2146846388"/>
            <ac:cxnSpMk id="27" creationId="{8C78C693-EAAC-EB89-E338-90AAFBB17839}"/>
          </ac:cxnSpMkLst>
        </pc:cxnChg>
        <pc:cxnChg chg="del mod">
          <ac:chgData name="Md Fahim Hasan" userId="92968fce-d4dd-4b9e-8635-66a07c9f98a7" providerId="ADAL" clId="{3A6F4128-6482-4C75-8C7D-220A75826C22}" dt="2023-07-17T22:34:03.801" v="1772" actId="478"/>
          <ac:cxnSpMkLst>
            <pc:docMk/>
            <pc:sldMk cId="50484898" sldId="2146846388"/>
            <ac:cxnSpMk id="35" creationId="{8E245135-CCF3-79B5-77FB-7A3A1A6DC4BD}"/>
          </ac:cxnSpMkLst>
        </pc:cxnChg>
        <pc:cxnChg chg="del mod">
          <ac:chgData name="Md Fahim Hasan" userId="92968fce-d4dd-4b9e-8635-66a07c9f98a7" providerId="ADAL" clId="{3A6F4128-6482-4C75-8C7D-220A75826C22}" dt="2023-07-17T22:34:03.801" v="1772" actId="478"/>
          <ac:cxnSpMkLst>
            <pc:docMk/>
            <pc:sldMk cId="50484898" sldId="2146846388"/>
            <ac:cxnSpMk id="38" creationId="{54CB732F-EFAA-0062-81D8-400F002267C4}"/>
          </ac:cxnSpMkLst>
        </pc:cxnChg>
        <pc:cxnChg chg="del mod">
          <ac:chgData name="Md Fahim Hasan" userId="92968fce-d4dd-4b9e-8635-66a07c9f98a7" providerId="ADAL" clId="{3A6F4128-6482-4C75-8C7D-220A75826C22}" dt="2023-07-17T22:34:03.801" v="1772" actId="478"/>
          <ac:cxnSpMkLst>
            <pc:docMk/>
            <pc:sldMk cId="50484898" sldId="2146846388"/>
            <ac:cxnSpMk id="46" creationId="{B50C30AB-5F63-C383-1BCF-41748E23BE0A}"/>
          </ac:cxnSpMkLst>
        </pc:cxnChg>
        <pc:cxnChg chg="del mod">
          <ac:chgData name="Md Fahim Hasan" userId="92968fce-d4dd-4b9e-8635-66a07c9f98a7" providerId="ADAL" clId="{3A6F4128-6482-4C75-8C7D-220A75826C22}" dt="2023-07-17T22:34:03.801" v="1772" actId="478"/>
          <ac:cxnSpMkLst>
            <pc:docMk/>
            <pc:sldMk cId="50484898" sldId="2146846388"/>
            <ac:cxnSpMk id="54" creationId="{7E3A8081-2E8A-BDF2-6E2D-38657E14DCA2}"/>
          </ac:cxnSpMkLst>
        </pc:cxnChg>
        <pc:cxnChg chg="del mod">
          <ac:chgData name="Md Fahim Hasan" userId="92968fce-d4dd-4b9e-8635-66a07c9f98a7" providerId="ADAL" clId="{3A6F4128-6482-4C75-8C7D-220A75826C22}" dt="2023-07-17T22:34:03.801" v="1772" actId="478"/>
          <ac:cxnSpMkLst>
            <pc:docMk/>
            <pc:sldMk cId="50484898" sldId="2146846388"/>
            <ac:cxnSpMk id="56" creationId="{FE9C8553-0384-2641-7E80-E9CD677A1BB0}"/>
          </ac:cxnSpMkLst>
        </pc:cxnChg>
        <pc:cxnChg chg="del mod">
          <ac:chgData name="Md Fahim Hasan" userId="92968fce-d4dd-4b9e-8635-66a07c9f98a7" providerId="ADAL" clId="{3A6F4128-6482-4C75-8C7D-220A75826C22}" dt="2023-07-17T22:34:03.801" v="1772" actId="478"/>
          <ac:cxnSpMkLst>
            <pc:docMk/>
            <pc:sldMk cId="50484898" sldId="2146846388"/>
            <ac:cxnSpMk id="74" creationId="{7C59F5D8-CB92-52E7-C960-05BF652B3B6E}"/>
          </ac:cxnSpMkLst>
        </pc:cxnChg>
      </pc:sldChg>
      <pc:sldChg chg="addSp delSp modSp add mod delAnim modAnim">
        <pc:chgData name="Md Fahim Hasan" userId="92968fce-d4dd-4b9e-8635-66a07c9f98a7" providerId="ADAL" clId="{3A6F4128-6482-4C75-8C7D-220A75826C22}" dt="2023-07-27T15:51:58.279" v="35706"/>
        <pc:sldMkLst>
          <pc:docMk/>
          <pc:sldMk cId="1048505515" sldId="2146846389"/>
        </pc:sldMkLst>
        <pc:spChg chg="mod">
          <ac:chgData name="Md Fahim Hasan" userId="92968fce-d4dd-4b9e-8635-66a07c9f98a7" providerId="ADAL" clId="{3A6F4128-6482-4C75-8C7D-220A75826C22}" dt="2023-07-27T15:51:58.279" v="35706"/>
          <ac:spMkLst>
            <pc:docMk/>
            <pc:sldMk cId="1048505515" sldId="2146846389"/>
            <ac:spMk id="2" creationId="{56C1F752-97FE-CC5B-DA77-DDC0B76B32E3}"/>
          </ac:spMkLst>
        </pc:spChg>
        <pc:spChg chg="del mod">
          <ac:chgData name="Md Fahim Hasan" userId="92968fce-d4dd-4b9e-8635-66a07c9f98a7" providerId="ADAL" clId="{3A6F4128-6482-4C75-8C7D-220A75826C22}" dt="2023-07-25T19:52:48.930" v="19699" actId="478"/>
          <ac:spMkLst>
            <pc:docMk/>
            <pc:sldMk cId="1048505515" sldId="2146846389"/>
            <ac:spMk id="4" creationId="{506E6838-E7FB-7E52-6860-B01540E41B95}"/>
          </ac:spMkLst>
        </pc:spChg>
        <pc:spChg chg="add mod">
          <ac:chgData name="Md Fahim Hasan" userId="92968fce-d4dd-4b9e-8635-66a07c9f98a7" providerId="ADAL" clId="{3A6F4128-6482-4C75-8C7D-220A75826C22}" dt="2023-07-26T22:50:21.361" v="30910" actId="20577"/>
          <ac:spMkLst>
            <pc:docMk/>
            <pc:sldMk cId="1048505515" sldId="2146846389"/>
            <ac:spMk id="4" creationId="{5598E743-B229-632B-3E96-FA0F8780461F}"/>
          </ac:spMkLst>
        </pc:spChg>
        <pc:spChg chg="add mod">
          <ac:chgData name="Md Fahim Hasan" userId="92968fce-d4dd-4b9e-8635-66a07c9f98a7" providerId="ADAL" clId="{3A6F4128-6482-4C75-8C7D-220A75826C22}" dt="2023-07-26T22:50:23.753" v="30911" actId="20577"/>
          <ac:spMkLst>
            <pc:docMk/>
            <pc:sldMk cId="1048505515" sldId="2146846389"/>
            <ac:spMk id="5" creationId="{46766ECA-D28D-A5BA-3991-FED81CDD14C7}"/>
          </ac:spMkLst>
        </pc:spChg>
        <pc:spChg chg="add del mod">
          <ac:chgData name="Md Fahim Hasan" userId="92968fce-d4dd-4b9e-8635-66a07c9f98a7" providerId="ADAL" clId="{3A6F4128-6482-4C75-8C7D-220A75826C22}" dt="2023-07-25T19:52:47.476" v="19698"/>
          <ac:spMkLst>
            <pc:docMk/>
            <pc:sldMk cId="1048505515" sldId="2146846389"/>
            <ac:spMk id="5" creationId="{B40AEFD8-4F40-D983-8F4F-D538F03383F2}"/>
          </ac:spMkLst>
        </pc:spChg>
        <pc:spChg chg="add mod">
          <ac:chgData name="Md Fahim Hasan" userId="92968fce-d4dd-4b9e-8635-66a07c9f98a7" providerId="ADAL" clId="{3A6F4128-6482-4C75-8C7D-220A75826C22}" dt="2023-07-25T19:53:00.532" v="19721" actId="115"/>
          <ac:spMkLst>
            <pc:docMk/>
            <pc:sldMk cId="1048505515" sldId="2146846389"/>
            <ac:spMk id="7" creationId="{39AA71CF-08AD-0070-5A05-46979ADD10E0}"/>
          </ac:spMkLst>
        </pc:spChg>
        <pc:spChg chg="add mod">
          <ac:chgData name="Md Fahim Hasan" userId="92968fce-d4dd-4b9e-8635-66a07c9f98a7" providerId="ADAL" clId="{3A6F4128-6482-4C75-8C7D-220A75826C22}" dt="2023-07-26T22:50:25.799" v="30912" actId="20577"/>
          <ac:spMkLst>
            <pc:docMk/>
            <pc:sldMk cId="1048505515" sldId="2146846389"/>
            <ac:spMk id="10" creationId="{72CA6DE6-AD04-A276-24A1-06F9C3411A4B}"/>
          </ac:spMkLst>
        </pc:spChg>
        <pc:spChg chg="del mod">
          <ac:chgData name="Md Fahim Hasan" userId="92968fce-d4dd-4b9e-8635-66a07c9f98a7" providerId="ADAL" clId="{3A6F4128-6482-4C75-8C7D-220A75826C22}" dt="2023-07-26T21:58:14.679" v="30794" actId="478"/>
          <ac:spMkLst>
            <pc:docMk/>
            <pc:sldMk cId="1048505515" sldId="2146846389"/>
            <ac:spMk id="19" creationId="{688695E6-03F4-CEE4-56E6-1BA85F5F2FA3}"/>
          </ac:spMkLst>
        </pc:spChg>
        <pc:spChg chg="del">
          <ac:chgData name="Md Fahim Hasan" userId="92968fce-d4dd-4b9e-8635-66a07c9f98a7" providerId="ADAL" clId="{3A6F4128-6482-4C75-8C7D-220A75826C22}" dt="2023-07-26T21:58:14.679" v="30794" actId="478"/>
          <ac:spMkLst>
            <pc:docMk/>
            <pc:sldMk cId="1048505515" sldId="2146846389"/>
            <ac:spMk id="20" creationId="{040BCA99-2FFF-618A-ADD3-A00006589972}"/>
          </ac:spMkLst>
        </pc:spChg>
        <pc:spChg chg="del">
          <ac:chgData name="Md Fahim Hasan" userId="92968fce-d4dd-4b9e-8635-66a07c9f98a7" providerId="ADAL" clId="{3A6F4128-6482-4C75-8C7D-220A75826C22}" dt="2023-07-26T21:58:14.679" v="30794" actId="478"/>
          <ac:spMkLst>
            <pc:docMk/>
            <pc:sldMk cId="1048505515" sldId="2146846389"/>
            <ac:spMk id="21" creationId="{98121FFD-BBA3-C6B1-9D6D-86E506BF8E8B}"/>
          </ac:spMkLst>
        </pc:spChg>
        <pc:picChg chg="mod">
          <ac:chgData name="Md Fahim Hasan" userId="92968fce-d4dd-4b9e-8635-66a07c9f98a7" providerId="ADAL" clId="{3A6F4128-6482-4C75-8C7D-220A75826C22}" dt="2023-07-26T23:44:29.835" v="30952" actId="14826"/>
          <ac:picMkLst>
            <pc:docMk/>
            <pc:sldMk cId="1048505515" sldId="2146846389"/>
            <ac:picMk id="3" creationId="{72FDB37B-E1DB-C812-CAB0-7BE1829D147F}"/>
          </ac:picMkLst>
        </pc:picChg>
        <pc:picChg chg="mod">
          <ac:chgData name="Md Fahim Hasan" userId="92968fce-d4dd-4b9e-8635-66a07c9f98a7" providerId="ADAL" clId="{3A6F4128-6482-4C75-8C7D-220A75826C22}" dt="2023-07-26T23:43:07.814" v="30949" actId="14826"/>
          <ac:picMkLst>
            <pc:docMk/>
            <pc:sldMk cId="1048505515" sldId="2146846389"/>
            <ac:picMk id="6" creationId="{B09638A6-6111-A6EC-914F-C98B17862DE6}"/>
          </ac:picMkLst>
        </pc:picChg>
        <pc:picChg chg="mod">
          <ac:chgData name="Md Fahim Hasan" userId="92968fce-d4dd-4b9e-8635-66a07c9f98a7" providerId="ADAL" clId="{3A6F4128-6482-4C75-8C7D-220A75826C22}" dt="2023-07-26T22:00:25.416" v="30797" actId="14826"/>
          <ac:picMkLst>
            <pc:docMk/>
            <pc:sldMk cId="1048505515" sldId="2146846389"/>
            <ac:picMk id="8" creationId="{1F7DC9F6-9984-9A8A-6C84-FC2CCC04B586}"/>
          </ac:picMkLst>
        </pc:picChg>
      </pc:sldChg>
      <pc:sldChg chg="addSp delSp modSp add del mod setBg delAnim modAnim modNotesTx">
        <pc:chgData name="Md Fahim Hasan" userId="92968fce-d4dd-4b9e-8635-66a07c9f98a7" providerId="ADAL" clId="{3A6F4128-6482-4C75-8C7D-220A75826C22}" dt="2023-07-25T18:59:14.378" v="19450" actId="2696"/>
        <pc:sldMkLst>
          <pc:docMk/>
          <pc:sldMk cId="1226472905" sldId="2146846389"/>
        </pc:sldMkLst>
        <pc:spChg chg="add mod">
          <ac:chgData name="Md Fahim Hasan" userId="92968fce-d4dd-4b9e-8635-66a07c9f98a7" providerId="ADAL" clId="{3A6F4128-6482-4C75-8C7D-220A75826C22}" dt="2023-07-25T18:59:01.863" v="19447" actId="115"/>
          <ac:spMkLst>
            <pc:docMk/>
            <pc:sldMk cId="1226472905" sldId="2146846389"/>
            <ac:spMk id="4" creationId="{506E6838-E7FB-7E52-6860-B01540E41B95}"/>
          </ac:spMkLst>
        </pc:spChg>
        <pc:spChg chg="del mod">
          <ac:chgData name="Md Fahim Hasan" userId="92968fce-d4dd-4b9e-8635-66a07c9f98a7" providerId="ADAL" clId="{3A6F4128-6482-4C75-8C7D-220A75826C22}" dt="2023-07-18T14:51:13.441" v="3554" actId="478"/>
          <ac:spMkLst>
            <pc:docMk/>
            <pc:sldMk cId="1226472905" sldId="2146846389"/>
            <ac:spMk id="4" creationId="{59A6018B-9E1B-2CF1-7DA2-59B339EE12B2}"/>
          </ac:spMkLst>
        </pc:spChg>
        <pc:spChg chg="mod">
          <ac:chgData name="Md Fahim Hasan" userId="92968fce-d4dd-4b9e-8635-66a07c9f98a7" providerId="ADAL" clId="{3A6F4128-6482-4C75-8C7D-220A75826C22}" dt="2023-07-20T14:34:06.528" v="7902" actId="20577"/>
          <ac:spMkLst>
            <pc:docMk/>
            <pc:sldMk cId="1226472905" sldId="2146846389"/>
            <ac:spMk id="9" creationId="{DCE765C9-F866-A10C-05BC-B0F5CF7D4FA9}"/>
          </ac:spMkLst>
        </pc:spChg>
        <pc:spChg chg="add del mod">
          <ac:chgData name="Md Fahim Hasan" userId="92968fce-d4dd-4b9e-8635-66a07c9f98a7" providerId="ADAL" clId="{3A6F4128-6482-4C75-8C7D-220A75826C22}" dt="2023-07-21T22:34:12.347" v="13587" actId="21"/>
          <ac:spMkLst>
            <pc:docMk/>
            <pc:sldMk cId="1226472905" sldId="2146846389"/>
            <ac:spMk id="10" creationId="{DDD763E9-CE6D-7E6C-735D-E01DF9793F16}"/>
          </ac:spMkLst>
        </pc:spChg>
        <pc:spChg chg="add del">
          <ac:chgData name="Md Fahim Hasan" userId="92968fce-d4dd-4b9e-8635-66a07c9f98a7" providerId="ADAL" clId="{3A6F4128-6482-4C75-8C7D-220A75826C22}" dt="2023-07-18T15:01:29.689" v="3570" actId="26606"/>
          <ac:spMkLst>
            <pc:docMk/>
            <pc:sldMk cId="1226472905" sldId="2146846389"/>
            <ac:spMk id="11" creationId="{8C886788-700E-4D20-9F80-E0E96837A203}"/>
          </ac:spMkLst>
        </pc:spChg>
        <pc:spChg chg="add del">
          <ac:chgData name="Md Fahim Hasan" userId="92968fce-d4dd-4b9e-8635-66a07c9f98a7" providerId="ADAL" clId="{3A6F4128-6482-4C75-8C7D-220A75826C22}" dt="2023-07-18T15:01:29.689" v="3570" actId="26606"/>
          <ac:spMkLst>
            <pc:docMk/>
            <pc:sldMk cId="1226472905" sldId="2146846389"/>
            <ac:spMk id="12" creationId="{BCE4FF05-2B0C-4C97-A9B4-E163085A90E1}"/>
          </ac:spMkLst>
        </pc:spChg>
        <pc:spChg chg="add del">
          <ac:chgData name="Md Fahim Hasan" userId="92968fce-d4dd-4b9e-8635-66a07c9f98a7" providerId="ADAL" clId="{3A6F4128-6482-4C75-8C7D-220A75826C22}" dt="2023-07-18T15:01:29.689" v="3570" actId="26606"/>
          <ac:spMkLst>
            <pc:docMk/>
            <pc:sldMk cId="1226472905" sldId="2146846389"/>
            <ac:spMk id="13" creationId="{529C2A7A-A6B6-4A56-B11C-8E967D88A60D}"/>
          </ac:spMkLst>
        </pc:spChg>
        <pc:spChg chg="del mod">
          <ac:chgData name="Md Fahim Hasan" userId="92968fce-d4dd-4b9e-8635-66a07c9f98a7" providerId="ADAL" clId="{3A6F4128-6482-4C75-8C7D-220A75826C22}" dt="2023-07-18T14:51:16.432" v="3556" actId="478"/>
          <ac:spMkLst>
            <pc:docMk/>
            <pc:sldMk cId="1226472905" sldId="2146846389"/>
            <ac:spMk id="14" creationId="{C1FF783D-9D48-5F9F-F53C-427DF5C7F34C}"/>
          </ac:spMkLst>
        </pc:spChg>
        <pc:spChg chg="add del">
          <ac:chgData name="Md Fahim Hasan" userId="92968fce-d4dd-4b9e-8635-66a07c9f98a7" providerId="ADAL" clId="{3A6F4128-6482-4C75-8C7D-220A75826C22}" dt="2023-07-18T15:01:35.751" v="3572" actId="26606"/>
          <ac:spMkLst>
            <pc:docMk/>
            <pc:sldMk cId="1226472905" sldId="2146846389"/>
            <ac:spMk id="15" creationId="{7C98A213-5994-475E-B327-DC6EC27FBA8B}"/>
          </ac:spMkLst>
        </pc:spChg>
        <pc:spChg chg="add del">
          <ac:chgData name="Md Fahim Hasan" userId="92968fce-d4dd-4b9e-8635-66a07c9f98a7" providerId="ADAL" clId="{3A6F4128-6482-4C75-8C7D-220A75826C22}" dt="2023-07-18T15:01:29.689" v="3570" actId="26606"/>
          <ac:spMkLst>
            <pc:docMk/>
            <pc:sldMk cId="1226472905" sldId="2146846389"/>
            <ac:spMk id="16" creationId="{1850674C-4E08-4C62-A3E2-6337FE4F7D86}"/>
          </ac:spMkLst>
        </pc:spChg>
        <pc:spChg chg="add del">
          <ac:chgData name="Md Fahim Hasan" userId="92968fce-d4dd-4b9e-8635-66a07c9f98a7" providerId="ADAL" clId="{3A6F4128-6482-4C75-8C7D-220A75826C22}" dt="2023-07-18T15:01:35.751" v="3572" actId="26606"/>
          <ac:spMkLst>
            <pc:docMk/>
            <pc:sldMk cId="1226472905" sldId="2146846389"/>
            <ac:spMk id="17" creationId="{4B030A0D-0DAD-4A99-89BB-419527D6A64B}"/>
          </ac:spMkLst>
        </pc:spChg>
        <pc:spChg chg="del mod">
          <ac:chgData name="Md Fahim Hasan" userId="92968fce-d4dd-4b9e-8635-66a07c9f98a7" providerId="ADAL" clId="{3A6F4128-6482-4C75-8C7D-220A75826C22}" dt="2023-07-18T14:51:14.729" v="3555" actId="478"/>
          <ac:spMkLst>
            <pc:docMk/>
            <pc:sldMk cId="1226472905" sldId="2146846389"/>
            <ac:spMk id="18" creationId="{40D5597F-54EF-1475-073B-DAC1B7EDD096}"/>
          </ac:spMkLst>
        </pc:spChg>
        <pc:spChg chg="add mod">
          <ac:chgData name="Md Fahim Hasan" userId="92968fce-d4dd-4b9e-8635-66a07c9f98a7" providerId="ADAL" clId="{3A6F4128-6482-4C75-8C7D-220A75826C22}" dt="2023-07-21T23:03:43.994" v="13995" actId="1076"/>
          <ac:spMkLst>
            <pc:docMk/>
            <pc:sldMk cId="1226472905" sldId="2146846389"/>
            <ac:spMk id="19" creationId="{688695E6-03F4-CEE4-56E6-1BA85F5F2FA3}"/>
          </ac:spMkLst>
        </pc:spChg>
        <pc:spChg chg="add mod">
          <ac:chgData name="Md Fahim Hasan" userId="92968fce-d4dd-4b9e-8635-66a07c9f98a7" providerId="ADAL" clId="{3A6F4128-6482-4C75-8C7D-220A75826C22}" dt="2023-07-21T23:12:03.109" v="14031" actId="1076"/>
          <ac:spMkLst>
            <pc:docMk/>
            <pc:sldMk cId="1226472905" sldId="2146846389"/>
            <ac:spMk id="20" creationId="{040BCA99-2FFF-618A-ADD3-A00006589972}"/>
          </ac:spMkLst>
        </pc:spChg>
        <pc:spChg chg="del mod">
          <ac:chgData name="Md Fahim Hasan" userId="92968fce-d4dd-4b9e-8635-66a07c9f98a7" providerId="ADAL" clId="{3A6F4128-6482-4C75-8C7D-220A75826C22}" dt="2023-07-17T23:28:52.519" v="3284" actId="478"/>
          <ac:spMkLst>
            <pc:docMk/>
            <pc:sldMk cId="1226472905" sldId="2146846389"/>
            <ac:spMk id="20" creationId="{D8E263AE-6047-CA16-0E7E-853CAB8E6BF3}"/>
          </ac:spMkLst>
        </pc:spChg>
        <pc:spChg chg="add mod">
          <ac:chgData name="Md Fahim Hasan" userId="92968fce-d4dd-4b9e-8635-66a07c9f98a7" providerId="ADAL" clId="{3A6F4128-6482-4C75-8C7D-220A75826C22}" dt="2023-07-21T23:03:35.118" v="13993" actId="1076"/>
          <ac:spMkLst>
            <pc:docMk/>
            <pc:sldMk cId="1226472905" sldId="2146846389"/>
            <ac:spMk id="21" creationId="{98121FFD-BBA3-C6B1-9D6D-86E506BF8E8B}"/>
          </ac:spMkLst>
        </pc:spChg>
        <pc:spChg chg="add del">
          <ac:chgData name="Md Fahim Hasan" userId="92968fce-d4dd-4b9e-8635-66a07c9f98a7" providerId="ADAL" clId="{3A6F4128-6482-4C75-8C7D-220A75826C22}" dt="2023-07-18T15:01:29.689" v="3570" actId="26606"/>
          <ac:spMkLst>
            <pc:docMk/>
            <pc:sldMk cId="1226472905" sldId="2146846389"/>
            <ac:spMk id="22" creationId="{FDBD7205-E536-4134-8768-AC3E1A3C5E59}"/>
          </ac:spMkLst>
        </pc:spChg>
        <pc:picChg chg="add mod ord">
          <ac:chgData name="Md Fahim Hasan" userId="92968fce-d4dd-4b9e-8635-66a07c9f98a7" providerId="ADAL" clId="{3A6F4128-6482-4C75-8C7D-220A75826C22}" dt="2023-07-21T23:03:24.513" v="13991" actId="1076"/>
          <ac:picMkLst>
            <pc:docMk/>
            <pc:sldMk cId="1226472905" sldId="2146846389"/>
            <ac:picMk id="3" creationId="{72FDB37B-E1DB-C812-CAB0-7BE1829D147F}"/>
          </ac:picMkLst>
        </pc:picChg>
        <pc:picChg chg="add mod">
          <ac:chgData name="Md Fahim Hasan" userId="92968fce-d4dd-4b9e-8635-66a07c9f98a7" providerId="ADAL" clId="{3A6F4128-6482-4C75-8C7D-220A75826C22}" dt="2023-07-21T23:12:03.109" v="14031" actId="1076"/>
          <ac:picMkLst>
            <pc:docMk/>
            <pc:sldMk cId="1226472905" sldId="2146846389"/>
            <ac:picMk id="6" creationId="{B09638A6-6111-A6EC-914F-C98B17862DE6}"/>
          </ac:picMkLst>
        </pc:picChg>
        <pc:picChg chg="add mod ord">
          <ac:chgData name="Md Fahim Hasan" userId="92968fce-d4dd-4b9e-8635-66a07c9f98a7" providerId="ADAL" clId="{3A6F4128-6482-4C75-8C7D-220A75826C22}" dt="2023-07-21T23:03:13.580" v="13989" actId="1076"/>
          <ac:picMkLst>
            <pc:docMk/>
            <pc:sldMk cId="1226472905" sldId="2146846389"/>
            <ac:picMk id="8" creationId="{1F7DC9F6-9984-9A8A-6C84-FC2CCC04B586}"/>
          </ac:picMkLst>
        </pc:picChg>
        <pc:cxnChg chg="add del mod">
          <ac:chgData name="Md Fahim Hasan" userId="92968fce-d4dd-4b9e-8635-66a07c9f98a7" providerId="ADAL" clId="{3A6F4128-6482-4C75-8C7D-220A75826C22}" dt="2023-07-21T23:03:15.154" v="13990" actId="478"/>
          <ac:cxnSpMkLst>
            <pc:docMk/>
            <pc:sldMk cId="1226472905" sldId="2146846389"/>
            <ac:cxnSpMk id="24" creationId="{99D01E62-F77D-E62A-0C2D-824A66B5AD7B}"/>
          </ac:cxnSpMkLst>
        </pc:cxnChg>
      </pc:sldChg>
      <pc:sldChg chg="addSp modSp add mod ord modAnim modShow modNotesTx">
        <pc:chgData name="Md Fahim Hasan" userId="92968fce-d4dd-4b9e-8635-66a07c9f98a7" providerId="ADAL" clId="{3A6F4128-6482-4C75-8C7D-220A75826C22}" dt="2023-07-28T19:09:13.997" v="39265" actId="729"/>
        <pc:sldMkLst>
          <pc:docMk/>
          <pc:sldMk cId="2477569122" sldId="2146846390"/>
        </pc:sldMkLst>
        <pc:spChg chg="mod">
          <ac:chgData name="Md Fahim Hasan" userId="92968fce-d4dd-4b9e-8635-66a07c9f98a7" providerId="ADAL" clId="{3A6F4128-6482-4C75-8C7D-220A75826C22}" dt="2023-07-27T15:51:58.279" v="35706"/>
          <ac:spMkLst>
            <pc:docMk/>
            <pc:sldMk cId="2477569122" sldId="2146846390"/>
            <ac:spMk id="2" creationId="{01022AA2-4ED6-33F1-DCC7-83E7BA387B4B}"/>
          </ac:spMkLst>
        </pc:spChg>
        <pc:spChg chg="add mod">
          <ac:chgData name="Md Fahim Hasan" userId="92968fce-d4dd-4b9e-8635-66a07c9f98a7" providerId="ADAL" clId="{3A6F4128-6482-4C75-8C7D-220A75826C22}" dt="2023-07-25T18:49:18.796" v="19113" actId="13822"/>
          <ac:spMkLst>
            <pc:docMk/>
            <pc:sldMk cId="2477569122" sldId="2146846390"/>
            <ac:spMk id="3" creationId="{82FC25AD-18AE-B2B3-F3B0-2C8C399F9ACC}"/>
          </ac:spMkLst>
        </pc:spChg>
        <pc:spChg chg="mod">
          <ac:chgData name="Md Fahim Hasan" userId="92968fce-d4dd-4b9e-8635-66a07c9f98a7" providerId="ADAL" clId="{3A6F4128-6482-4C75-8C7D-220A75826C22}" dt="2023-07-27T21:51:28.338" v="38145" actId="20577"/>
          <ac:spMkLst>
            <pc:docMk/>
            <pc:sldMk cId="2477569122" sldId="2146846390"/>
            <ac:spMk id="4" creationId="{59A6018B-9E1B-2CF1-7DA2-59B339EE12B2}"/>
          </ac:spMkLst>
        </pc:spChg>
        <pc:spChg chg="add mod">
          <ac:chgData name="Md Fahim Hasan" userId="92968fce-d4dd-4b9e-8635-66a07c9f98a7" providerId="ADAL" clId="{3A6F4128-6482-4C75-8C7D-220A75826C22}" dt="2023-07-25T18:48:55.693" v="19108" actId="14100"/>
          <ac:spMkLst>
            <pc:docMk/>
            <pc:sldMk cId="2477569122" sldId="2146846390"/>
            <ac:spMk id="5" creationId="{BB2E9326-B87B-561A-0C43-2FA1589C1E1C}"/>
          </ac:spMkLst>
        </pc:spChg>
        <pc:spChg chg="mod">
          <ac:chgData name="Md Fahim Hasan" userId="92968fce-d4dd-4b9e-8635-66a07c9f98a7" providerId="ADAL" clId="{3A6F4128-6482-4C75-8C7D-220A75826C22}" dt="2023-07-25T17:02:45.467" v="18214" actId="20577"/>
          <ac:spMkLst>
            <pc:docMk/>
            <pc:sldMk cId="2477569122" sldId="2146846390"/>
            <ac:spMk id="9" creationId="{DCE765C9-F866-A10C-05BC-B0F5CF7D4FA9}"/>
          </ac:spMkLst>
        </pc:spChg>
        <pc:spChg chg="add mod">
          <ac:chgData name="Md Fahim Hasan" userId="92968fce-d4dd-4b9e-8635-66a07c9f98a7" providerId="ADAL" clId="{3A6F4128-6482-4C75-8C7D-220A75826C22}" dt="2023-07-25T21:18:04.505" v="21171" actId="20577"/>
          <ac:spMkLst>
            <pc:docMk/>
            <pc:sldMk cId="2477569122" sldId="2146846390"/>
            <ac:spMk id="10" creationId="{454EFFA5-D86E-C126-6656-4E36F38880CE}"/>
          </ac:spMkLst>
        </pc:spChg>
        <pc:cxnChg chg="add mod">
          <ac:chgData name="Md Fahim Hasan" userId="92968fce-d4dd-4b9e-8635-66a07c9f98a7" providerId="ADAL" clId="{3A6F4128-6482-4C75-8C7D-220A75826C22}" dt="2023-07-25T18:49:23.209" v="19115" actId="13822"/>
          <ac:cxnSpMkLst>
            <pc:docMk/>
            <pc:sldMk cId="2477569122" sldId="2146846390"/>
            <ac:cxnSpMk id="7" creationId="{CABDFA14-5BEF-5327-5B2E-74E7D0B33773}"/>
          </ac:cxnSpMkLst>
        </pc:cxnChg>
      </pc:sldChg>
      <pc:sldChg chg="add del">
        <pc:chgData name="Md Fahim Hasan" userId="92968fce-d4dd-4b9e-8635-66a07c9f98a7" providerId="ADAL" clId="{3A6F4128-6482-4C75-8C7D-220A75826C22}" dt="2023-07-25T20:22:09.783" v="20413" actId="47"/>
        <pc:sldMkLst>
          <pc:docMk/>
          <pc:sldMk cId="2384319272" sldId="2146846391"/>
        </pc:sldMkLst>
      </pc:sldChg>
      <pc:sldChg chg="addSp delSp modSp add del mod addAnim delAnim modAnim modNotesTx">
        <pc:chgData name="Md Fahim Hasan" userId="92968fce-d4dd-4b9e-8635-66a07c9f98a7" providerId="ADAL" clId="{3A6F4128-6482-4C75-8C7D-220A75826C22}" dt="2023-07-25T18:59:14.378" v="19450" actId="2696"/>
        <pc:sldMkLst>
          <pc:docMk/>
          <pc:sldMk cId="2886677831" sldId="2146846391"/>
        </pc:sldMkLst>
        <pc:spChg chg="mod">
          <ac:chgData name="Md Fahim Hasan" userId="92968fce-d4dd-4b9e-8635-66a07c9f98a7" providerId="ADAL" clId="{3A6F4128-6482-4C75-8C7D-220A75826C22}" dt="2023-07-20T14:34:11.558" v="7904" actId="20577"/>
          <ac:spMkLst>
            <pc:docMk/>
            <pc:sldMk cId="2886677831" sldId="2146846391"/>
            <ac:spMk id="9" creationId="{DCE765C9-F866-A10C-05BC-B0F5CF7D4FA9}"/>
          </ac:spMkLst>
        </pc:spChg>
        <pc:spChg chg="del">
          <ac:chgData name="Md Fahim Hasan" userId="92968fce-d4dd-4b9e-8635-66a07c9f98a7" providerId="ADAL" clId="{3A6F4128-6482-4C75-8C7D-220A75826C22}" dt="2023-07-18T16:07:38.001" v="4025" actId="478"/>
          <ac:spMkLst>
            <pc:docMk/>
            <pc:sldMk cId="2886677831" sldId="2146846391"/>
            <ac:spMk id="10" creationId="{DDD763E9-CE6D-7E6C-735D-E01DF9793F16}"/>
          </ac:spMkLst>
        </pc:spChg>
        <pc:spChg chg="add mod">
          <ac:chgData name="Md Fahim Hasan" userId="92968fce-d4dd-4b9e-8635-66a07c9f98a7" providerId="ADAL" clId="{3A6F4128-6482-4C75-8C7D-220A75826C22}" dt="2023-07-18T17:53:07.170" v="4334" actId="115"/>
          <ac:spMkLst>
            <pc:docMk/>
            <pc:sldMk cId="2886677831" sldId="2146846391"/>
            <ac:spMk id="11" creationId="{34104EF3-AE2A-10CD-807A-5E8D98642890}"/>
          </ac:spMkLst>
        </pc:spChg>
        <pc:spChg chg="add mod">
          <ac:chgData name="Md Fahim Hasan" userId="92968fce-d4dd-4b9e-8635-66a07c9f98a7" providerId="ADAL" clId="{3A6F4128-6482-4C75-8C7D-220A75826C22}" dt="2023-07-18T17:53:38.677" v="4339" actId="115"/>
          <ac:spMkLst>
            <pc:docMk/>
            <pc:sldMk cId="2886677831" sldId="2146846391"/>
            <ac:spMk id="12" creationId="{563AE502-BE2B-F7DC-8070-3C524C7FC52F}"/>
          </ac:spMkLst>
        </pc:spChg>
        <pc:spChg chg="add mod">
          <ac:chgData name="Md Fahim Hasan" userId="92968fce-d4dd-4b9e-8635-66a07c9f98a7" providerId="ADAL" clId="{3A6F4128-6482-4C75-8C7D-220A75826C22}" dt="2023-07-18T17:53:11.859" v="4335" actId="115"/>
          <ac:spMkLst>
            <pc:docMk/>
            <pc:sldMk cId="2886677831" sldId="2146846391"/>
            <ac:spMk id="15" creationId="{A831B13C-8409-F4FA-2FD1-7B0D4DD54039}"/>
          </ac:spMkLst>
        </pc:spChg>
        <pc:spChg chg="add mod">
          <ac:chgData name="Md Fahim Hasan" userId="92968fce-d4dd-4b9e-8635-66a07c9f98a7" providerId="ADAL" clId="{3A6F4128-6482-4C75-8C7D-220A75826C22}" dt="2023-07-18T17:53:43.891" v="4340" actId="115"/>
          <ac:spMkLst>
            <pc:docMk/>
            <pc:sldMk cId="2886677831" sldId="2146846391"/>
            <ac:spMk id="16" creationId="{74FA2828-4265-79AB-6956-60772E0CBF25}"/>
          </ac:spMkLst>
        </pc:spChg>
        <pc:spChg chg="del">
          <ac:chgData name="Md Fahim Hasan" userId="92968fce-d4dd-4b9e-8635-66a07c9f98a7" providerId="ADAL" clId="{3A6F4128-6482-4C75-8C7D-220A75826C22}" dt="2023-07-18T16:07:45.047" v="4030" actId="478"/>
          <ac:spMkLst>
            <pc:docMk/>
            <pc:sldMk cId="2886677831" sldId="2146846391"/>
            <ac:spMk id="19" creationId="{688695E6-03F4-CEE4-56E6-1BA85F5F2FA3}"/>
          </ac:spMkLst>
        </pc:spChg>
        <pc:spChg chg="del">
          <ac:chgData name="Md Fahim Hasan" userId="92968fce-d4dd-4b9e-8635-66a07c9f98a7" providerId="ADAL" clId="{3A6F4128-6482-4C75-8C7D-220A75826C22}" dt="2023-07-18T16:07:46.834" v="4031" actId="478"/>
          <ac:spMkLst>
            <pc:docMk/>
            <pc:sldMk cId="2886677831" sldId="2146846391"/>
            <ac:spMk id="20" creationId="{040BCA99-2FFF-618A-ADD3-A00006589972}"/>
          </ac:spMkLst>
        </pc:spChg>
        <pc:spChg chg="del">
          <ac:chgData name="Md Fahim Hasan" userId="92968fce-d4dd-4b9e-8635-66a07c9f98a7" providerId="ADAL" clId="{3A6F4128-6482-4C75-8C7D-220A75826C22}" dt="2023-07-18T16:07:49.290" v="4033" actId="478"/>
          <ac:spMkLst>
            <pc:docMk/>
            <pc:sldMk cId="2886677831" sldId="2146846391"/>
            <ac:spMk id="21" creationId="{98121FFD-BBA3-C6B1-9D6D-86E506BF8E8B}"/>
          </ac:spMkLst>
        </pc:spChg>
        <pc:picChg chg="del">
          <ac:chgData name="Md Fahim Hasan" userId="92968fce-d4dd-4b9e-8635-66a07c9f98a7" providerId="ADAL" clId="{3A6F4128-6482-4C75-8C7D-220A75826C22}" dt="2023-07-18T16:07:50.055" v="4034" actId="478"/>
          <ac:picMkLst>
            <pc:docMk/>
            <pc:sldMk cId="2886677831" sldId="2146846391"/>
            <ac:picMk id="3" creationId="{72FDB37B-E1DB-C812-CAB0-7BE1829D147F}"/>
          </ac:picMkLst>
        </pc:picChg>
        <pc:picChg chg="add mod">
          <ac:chgData name="Md Fahim Hasan" userId="92968fce-d4dd-4b9e-8635-66a07c9f98a7" providerId="ADAL" clId="{3A6F4128-6482-4C75-8C7D-220A75826C22}" dt="2023-07-18T17:23:24.822" v="4130" actId="1076"/>
          <ac:picMkLst>
            <pc:docMk/>
            <pc:sldMk cId="2886677831" sldId="2146846391"/>
            <ac:picMk id="4" creationId="{1B7C3091-DEA4-66D1-884C-6CB2FD58DBE7}"/>
          </ac:picMkLst>
        </pc:picChg>
        <pc:picChg chg="add del">
          <ac:chgData name="Md Fahim Hasan" userId="92968fce-d4dd-4b9e-8635-66a07c9f98a7" providerId="ADAL" clId="{3A6F4128-6482-4C75-8C7D-220A75826C22}" dt="2023-07-18T16:07:47.548" v="4032" actId="478"/>
          <ac:picMkLst>
            <pc:docMk/>
            <pc:sldMk cId="2886677831" sldId="2146846391"/>
            <ac:picMk id="6" creationId="{B09638A6-6111-A6EC-914F-C98B17862DE6}"/>
          </ac:picMkLst>
        </pc:picChg>
        <pc:picChg chg="add mod">
          <ac:chgData name="Md Fahim Hasan" userId="92968fce-d4dd-4b9e-8635-66a07c9f98a7" providerId="ADAL" clId="{3A6F4128-6482-4C75-8C7D-220A75826C22}" dt="2023-07-18T17:23:05.798" v="4127" actId="14826"/>
          <ac:picMkLst>
            <pc:docMk/>
            <pc:sldMk cId="2886677831" sldId="2146846391"/>
            <ac:picMk id="7" creationId="{B5713B37-2314-473A-D0AE-587C49D1AB77}"/>
          </ac:picMkLst>
        </pc:picChg>
        <pc:picChg chg="del">
          <ac:chgData name="Md Fahim Hasan" userId="92968fce-d4dd-4b9e-8635-66a07c9f98a7" providerId="ADAL" clId="{3A6F4128-6482-4C75-8C7D-220A75826C22}" dt="2023-07-18T16:07:36.546" v="4024" actId="478"/>
          <ac:picMkLst>
            <pc:docMk/>
            <pc:sldMk cId="2886677831" sldId="2146846391"/>
            <ac:picMk id="8" creationId="{1F7DC9F6-9984-9A8A-6C84-FC2CCC04B586}"/>
          </ac:picMkLst>
        </pc:picChg>
        <pc:picChg chg="add mod">
          <ac:chgData name="Md Fahim Hasan" userId="92968fce-d4dd-4b9e-8635-66a07c9f98a7" providerId="ADAL" clId="{3A6F4128-6482-4C75-8C7D-220A75826C22}" dt="2023-07-18T17:24:06.369" v="4136" actId="14826"/>
          <ac:picMkLst>
            <pc:docMk/>
            <pc:sldMk cId="2886677831" sldId="2146846391"/>
            <ac:picMk id="13" creationId="{46FD433A-9C17-B9F2-33F5-318B3A425069}"/>
          </ac:picMkLst>
        </pc:picChg>
        <pc:picChg chg="add mod">
          <ac:chgData name="Md Fahim Hasan" userId="92968fce-d4dd-4b9e-8635-66a07c9f98a7" providerId="ADAL" clId="{3A6F4128-6482-4C75-8C7D-220A75826C22}" dt="2023-07-18T17:23:56.154" v="4135" actId="14826"/>
          <ac:picMkLst>
            <pc:docMk/>
            <pc:sldMk cId="2886677831" sldId="2146846391"/>
            <ac:picMk id="14" creationId="{D31D8173-1F85-39E6-CA70-70E6E8DBB3C5}"/>
          </ac:picMkLst>
        </pc:picChg>
        <pc:cxnChg chg="add del mod">
          <ac:chgData name="Md Fahim Hasan" userId="92968fce-d4dd-4b9e-8635-66a07c9f98a7" providerId="ADAL" clId="{3A6F4128-6482-4C75-8C7D-220A75826C22}" dt="2023-07-18T16:07:55.777" v="4035" actId="1076"/>
          <ac:cxnSpMkLst>
            <pc:docMk/>
            <pc:sldMk cId="2886677831" sldId="2146846391"/>
            <ac:cxnSpMk id="24" creationId="{99D01E62-F77D-E62A-0C2D-824A66B5AD7B}"/>
          </ac:cxnSpMkLst>
        </pc:cxnChg>
      </pc:sldChg>
      <pc:sldChg chg="addSp delSp modSp add mod delAnim modAnim modNotesTx">
        <pc:chgData name="Md Fahim Hasan" userId="92968fce-d4dd-4b9e-8635-66a07c9f98a7" providerId="ADAL" clId="{3A6F4128-6482-4C75-8C7D-220A75826C22}" dt="2023-07-28T17:24:41.928" v="38902"/>
        <pc:sldMkLst>
          <pc:docMk/>
          <pc:sldMk cId="2208349164" sldId="2146846392"/>
        </pc:sldMkLst>
        <pc:spChg chg="mod">
          <ac:chgData name="Md Fahim Hasan" userId="92968fce-d4dd-4b9e-8635-66a07c9f98a7" providerId="ADAL" clId="{3A6F4128-6482-4C75-8C7D-220A75826C22}" dt="2023-07-27T15:51:58.279" v="35706"/>
          <ac:spMkLst>
            <pc:docMk/>
            <pc:sldMk cId="2208349164" sldId="2146846392"/>
            <ac:spMk id="2" creationId="{E6BEB49A-2464-E7CC-0559-7A1ACBF185C0}"/>
          </ac:spMkLst>
        </pc:spChg>
        <pc:spChg chg="add mod">
          <ac:chgData name="Md Fahim Hasan" userId="92968fce-d4dd-4b9e-8635-66a07c9f98a7" providerId="ADAL" clId="{3A6F4128-6482-4C75-8C7D-220A75826C22}" dt="2023-07-26T19:46:25.120" v="27526" actId="20577"/>
          <ac:spMkLst>
            <pc:docMk/>
            <pc:sldMk cId="2208349164" sldId="2146846392"/>
            <ac:spMk id="4" creationId="{B4EACCC8-A0AE-2AB6-B07C-62D44ABA8828}"/>
          </ac:spMkLst>
        </pc:spChg>
        <pc:spChg chg="add mod">
          <ac:chgData name="Md Fahim Hasan" userId="92968fce-d4dd-4b9e-8635-66a07c9f98a7" providerId="ADAL" clId="{3A6F4128-6482-4C75-8C7D-220A75826C22}" dt="2023-07-26T22:49:35.451" v="30886" actId="20577"/>
          <ac:spMkLst>
            <pc:docMk/>
            <pc:sldMk cId="2208349164" sldId="2146846392"/>
            <ac:spMk id="5" creationId="{2C4B97AD-3481-D64C-B324-757BD5800ED7}"/>
          </ac:spMkLst>
        </pc:spChg>
        <pc:spChg chg="add mod">
          <ac:chgData name="Md Fahim Hasan" userId="92968fce-d4dd-4b9e-8635-66a07c9f98a7" providerId="ADAL" clId="{3A6F4128-6482-4C75-8C7D-220A75826C22}" dt="2023-07-26T22:49:37.434" v="30887" actId="20577"/>
          <ac:spMkLst>
            <pc:docMk/>
            <pc:sldMk cId="2208349164" sldId="2146846392"/>
            <ac:spMk id="7" creationId="{FF569CC5-F4F5-11D1-7477-3BA17EB63AD1}"/>
          </ac:spMkLst>
        </pc:spChg>
        <pc:spChg chg="mod">
          <ac:chgData name="Md Fahim Hasan" userId="92968fce-d4dd-4b9e-8635-66a07c9f98a7" providerId="ADAL" clId="{3A6F4128-6482-4C75-8C7D-220A75826C22}" dt="2023-07-20T14:34:15.531" v="7907" actId="20577"/>
          <ac:spMkLst>
            <pc:docMk/>
            <pc:sldMk cId="2208349164" sldId="2146846392"/>
            <ac:spMk id="9" creationId="{DCE765C9-F866-A10C-05BC-B0F5CF7D4FA9}"/>
          </ac:spMkLst>
        </pc:spChg>
        <pc:spChg chg="add mod">
          <ac:chgData name="Md Fahim Hasan" userId="92968fce-d4dd-4b9e-8635-66a07c9f98a7" providerId="ADAL" clId="{3A6F4128-6482-4C75-8C7D-220A75826C22}" dt="2023-07-27T19:39:35.143" v="37491" actId="1076"/>
          <ac:spMkLst>
            <pc:docMk/>
            <pc:sldMk cId="2208349164" sldId="2146846392"/>
            <ac:spMk id="10" creationId="{89F62B33-C92D-CA80-B773-7CF7B8562165}"/>
          </ac:spMkLst>
        </pc:spChg>
        <pc:spChg chg="add del mod">
          <ac:chgData name="Md Fahim Hasan" userId="92968fce-d4dd-4b9e-8635-66a07c9f98a7" providerId="ADAL" clId="{3A6F4128-6482-4C75-8C7D-220A75826C22}" dt="2023-07-26T20:17:50.894" v="27974" actId="478"/>
          <ac:spMkLst>
            <pc:docMk/>
            <pc:sldMk cId="2208349164" sldId="2146846392"/>
            <ac:spMk id="10" creationId="{C80E4D77-C530-2F20-2DA2-FD87A5B0CA99}"/>
          </ac:spMkLst>
        </pc:spChg>
        <pc:spChg chg="del mod">
          <ac:chgData name="Md Fahim Hasan" userId="92968fce-d4dd-4b9e-8635-66a07c9f98a7" providerId="ADAL" clId="{3A6F4128-6482-4C75-8C7D-220A75826C22}" dt="2023-07-21T23:04:19.244" v="13997" actId="478"/>
          <ac:spMkLst>
            <pc:docMk/>
            <pc:sldMk cId="2208349164" sldId="2146846392"/>
            <ac:spMk id="10" creationId="{DDD763E9-CE6D-7E6C-735D-E01DF9793F16}"/>
          </ac:spMkLst>
        </pc:spChg>
        <pc:spChg chg="add del mod">
          <ac:chgData name="Md Fahim Hasan" userId="92968fce-d4dd-4b9e-8635-66a07c9f98a7" providerId="ADAL" clId="{3A6F4128-6482-4C75-8C7D-220A75826C22}" dt="2023-07-26T20:01:18.915" v="27972" actId="478"/>
          <ac:spMkLst>
            <pc:docMk/>
            <pc:sldMk cId="2208349164" sldId="2146846392"/>
            <ac:spMk id="11" creationId="{58A8A5C6-D63E-8189-DB12-D1C76789E6FC}"/>
          </ac:spMkLst>
        </pc:spChg>
        <pc:spChg chg="add mod">
          <ac:chgData name="Md Fahim Hasan" userId="92968fce-d4dd-4b9e-8635-66a07c9f98a7" providerId="ADAL" clId="{3A6F4128-6482-4C75-8C7D-220A75826C22}" dt="2023-07-27T19:39:58.019" v="37497" actId="1037"/>
          <ac:spMkLst>
            <pc:docMk/>
            <pc:sldMk cId="2208349164" sldId="2146846392"/>
            <ac:spMk id="11" creationId="{D0B5A9D1-BF3F-73D8-C3F1-1F35EF034257}"/>
          </ac:spMkLst>
        </pc:spChg>
        <pc:spChg chg="add mod">
          <ac:chgData name="Md Fahim Hasan" userId="92968fce-d4dd-4b9e-8635-66a07c9f98a7" providerId="ADAL" clId="{3A6F4128-6482-4C75-8C7D-220A75826C22}" dt="2023-07-27T19:40:17.602" v="37506" actId="1036"/>
          <ac:spMkLst>
            <pc:docMk/>
            <pc:sldMk cId="2208349164" sldId="2146846392"/>
            <ac:spMk id="12" creationId="{1C43CC01-EEB6-8A13-7031-48BEDC3B6F27}"/>
          </ac:spMkLst>
        </pc:spChg>
        <pc:spChg chg="add del mod">
          <ac:chgData name="Md Fahim Hasan" userId="92968fce-d4dd-4b9e-8635-66a07c9f98a7" providerId="ADAL" clId="{3A6F4128-6482-4C75-8C7D-220A75826C22}" dt="2023-07-26T20:01:15.323" v="27971" actId="478"/>
          <ac:spMkLst>
            <pc:docMk/>
            <pc:sldMk cId="2208349164" sldId="2146846392"/>
            <ac:spMk id="12" creationId="{BE73554D-25EF-FF7E-7703-1CAD2FA7F9CA}"/>
          </ac:spMkLst>
        </pc:spChg>
        <pc:spChg chg="add del mod">
          <ac:chgData name="Md Fahim Hasan" userId="92968fce-d4dd-4b9e-8635-66a07c9f98a7" providerId="ADAL" clId="{3A6F4128-6482-4C75-8C7D-220A75826C22}" dt="2023-07-26T22:47:56.729" v="30880"/>
          <ac:spMkLst>
            <pc:docMk/>
            <pc:sldMk cId="2208349164" sldId="2146846392"/>
            <ac:spMk id="13" creationId="{E07A744B-1A2C-6989-86C7-2B1F7734475F}"/>
          </ac:spMkLst>
        </pc:spChg>
        <pc:spChg chg="mod">
          <ac:chgData name="Md Fahim Hasan" userId="92968fce-d4dd-4b9e-8635-66a07c9f98a7" providerId="ADAL" clId="{3A6F4128-6482-4C75-8C7D-220A75826C22}" dt="2023-07-26T22:49:33.642" v="30885" actId="20577"/>
          <ac:spMkLst>
            <pc:docMk/>
            <pc:sldMk cId="2208349164" sldId="2146846392"/>
            <ac:spMk id="19" creationId="{688695E6-03F4-CEE4-56E6-1BA85F5F2FA3}"/>
          </ac:spMkLst>
        </pc:spChg>
        <pc:spChg chg="del mod">
          <ac:chgData name="Md Fahim Hasan" userId="92968fce-d4dd-4b9e-8635-66a07c9f98a7" providerId="ADAL" clId="{3A6F4128-6482-4C75-8C7D-220A75826C22}" dt="2023-07-26T19:19:18.336" v="26499" actId="478"/>
          <ac:spMkLst>
            <pc:docMk/>
            <pc:sldMk cId="2208349164" sldId="2146846392"/>
            <ac:spMk id="20" creationId="{040BCA99-2FFF-618A-ADD3-A00006589972}"/>
          </ac:spMkLst>
        </pc:spChg>
        <pc:spChg chg="del mod">
          <ac:chgData name="Md Fahim Hasan" userId="92968fce-d4dd-4b9e-8635-66a07c9f98a7" providerId="ADAL" clId="{3A6F4128-6482-4C75-8C7D-220A75826C22}" dt="2023-07-26T19:19:46.672" v="26504" actId="478"/>
          <ac:spMkLst>
            <pc:docMk/>
            <pc:sldMk cId="2208349164" sldId="2146846392"/>
            <ac:spMk id="21" creationId="{98121FFD-BBA3-C6B1-9D6D-86E506BF8E8B}"/>
          </ac:spMkLst>
        </pc:spChg>
        <pc:picChg chg="mod">
          <ac:chgData name="Md Fahim Hasan" userId="92968fce-d4dd-4b9e-8635-66a07c9f98a7" providerId="ADAL" clId="{3A6F4128-6482-4C75-8C7D-220A75826C22}" dt="2023-07-26T22:54:47.163" v="30914" actId="14826"/>
          <ac:picMkLst>
            <pc:docMk/>
            <pc:sldMk cId="2208349164" sldId="2146846392"/>
            <ac:picMk id="3" creationId="{72FDB37B-E1DB-C812-CAB0-7BE1829D147F}"/>
          </ac:picMkLst>
        </pc:picChg>
        <pc:picChg chg="mod">
          <ac:chgData name="Md Fahim Hasan" userId="92968fce-d4dd-4b9e-8635-66a07c9f98a7" providerId="ADAL" clId="{3A6F4128-6482-4C75-8C7D-220A75826C22}" dt="2023-07-26T22:54:41.394" v="30913" actId="14826"/>
          <ac:picMkLst>
            <pc:docMk/>
            <pc:sldMk cId="2208349164" sldId="2146846392"/>
            <ac:picMk id="6" creationId="{B09638A6-6111-A6EC-914F-C98B17862DE6}"/>
          </ac:picMkLst>
        </pc:picChg>
        <pc:picChg chg="mod">
          <ac:chgData name="Md Fahim Hasan" userId="92968fce-d4dd-4b9e-8635-66a07c9f98a7" providerId="ADAL" clId="{3A6F4128-6482-4C75-8C7D-220A75826C22}" dt="2023-07-26T20:17:42.056" v="27973" actId="14826"/>
          <ac:picMkLst>
            <pc:docMk/>
            <pc:sldMk cId="2208349164" sldId="2146846392"/>
            <ac:picMk id="8" creationId="{1F7DC9F6-9984-9A8A-6C84-FC2CCC04B586}"/>
          </ac:picMkLst>
        </pc:picChg>
        <pc:cxnChg chg="del">
          <ac:chgData name="Md Fahim Hasan" userId="92968fce-d4dd-4b9e-8635-66a07c9f98a7" providerId="ADAL" clId="{3A6F4128-6482-4C75-8C7D-220A75826C22}" dt="2023-07-21T23:04:28.555" v="13999" actId="478"/>
          <ac:cxnSpMkLst>
            <pc:docMk/>
            <pc:sldMk cId="2208349164" sldId="2146846392"/>
            <ac:cxnSpMk id="24" creationId="{99D01E62-F77D-E62A-0C2D-824A66B5AD7B}"/>
          </ac:cxnSpMkLst>
        </pc:cxnChg>
      </pc:sldChg>
      <pc:sldChg chg="modSp add del mod">
        <pc:chgData name="Md Fahim Hasan" userId="92968fce-d4dd-4b9e-8635-66a07c9f98a7" providerId="ADAL" clId="{3A6F4128-6482-4C75-8C7D-220A75826C22}" dt="2023-07-18T17:38:13.214" v="4256" actId="47"/>
        <pc:sldMkLst>
          <pc:docMk/>
          <pc:sldMk cId="3237477264" sldId="2146846392"/>
        </pc:sldMkLst>
        <pc:spChg chg="mod">
          <ac:chgData name="Md Fahim Hasan" userId="92968fce-d4dd-4b9e-8635-66a07c9f98a7" providerId="ADAL" clId="{3A6F4128-6482-4C75-8C7D-220A75826C22}" dt="2023-07-18T17:37:26.133" v="4253" actId="20577"/>
          <ac:spMkLst>
            <pc:docMk/>
            <pc:sldMk cId="3237477264" sldId="2146846392"/>
            <ac:spMk id="9" creationId="{DCE765C9-F866-A10C-05BC-B0F5CF7D4FA9}"/>
          </ac:spMkLst>
        </pc:spChg>
        <pc:spChg chg="mod">
          <ac:chgData name="Md Fahim Hasan" userId="92968fce-d4dd-4b9e-8635-66a07c9f98a7" providerId="ADAL" clId="{3A6F4128-6482-4C75-8C7D-220A75826C22}" dt="2023-07-18T17:29:54.142" v="4224" actId="20577"/>
          <ac:spMkLst>
            <pc:docMk/>
            <pc:sldMk cId="3237477264" sldId="2146846392"/>
            <ac:spMk id="10" creationId="{DDD763E9-CE6D-7E6C-735D-E01DF9793F16}"/>
          </ac:spMkLst>
        </pc:spChg>
        <pc:spChg chg="mod">
          <ac:chgData name="Md Fahim Hasan" userId="92968fce-d4dd-4b9e-8635-66a07c9f98a7" providerId="ADAL" clId="{3A6F4128-6482-4C75-8C7D-220A75826C22}" dt="2023-07-18T17:27:14.313" v="4221" actId="1035"/>
          <ac:spMkLst>
            <pc:docMk/>
            <pc:sldMk cId="3237477264" sldId="2146846392"/>
            <ac:spMk id="20" creationId="{040BCA99-2FFF-618A-ADD3-A00006589972}"/>
          </ac:spMkLst>
        </pc:spChg>
        <pc:spChg chg="mod">
          <ac:chgData name="Md Fahim Hasan" userId="92968fce-d4dd-4b9e-8635-66a07c9f98a7" providerId="ADAL" clId="{3A6F4128-6482-4C75-8C7D-220A75826C22}" dt="2023-07-18T17:27:14.313" v="4221" actId="1035"/>
          <ac:spMkLst>
            <pc:docMk/>
            <pc:sldMk cId="3237477264" sldId="2146846392"/>
            <ac:spMk id="21" creationId="{98121FFD-BBA3-C6B1-9D6D-86E506BF8E8B}"/>
          </ac:spMkLst>
        </pc:spChg>
        <pc:picChg chg="mod">
          <ac:chgData name="Md Fahim Hasan" userId="92968fce-d4dd-4b9e-8635-66a07c9f98a7" providerId="ADAL" clId="{3A6F4128-6482-4C75-8C7D-220A75826C22}" dt="2023-07-18T17:27:14.313" v="4221" actId="1035"/>
          <ac:picMkLst>
            <pc:docMk/>
            <pc:sldMk cId="3237477264" sldId="2146846392"/>
            <ac:picMk id="3" creationId="{72FDB37B-E1DB-C812-CAB0-7BE1829D147F}"/>
          </ac:picMkLst>
        </pc:picChg>
        <pc:picChg chg="mod">
          <ac:chgData name="Md Fahim Hasan" userId="92968fce-d4dd-4b9e-8635-66a07c9f98a7" providerId="ADAL" clId="{3A6F4128-6482-4C75-8C7D-220A75826C22}" dt="2023-07-18T17:27:14.313" v="4221" actId="1035"/>
          <ac:picMkLst>
            <pc:docMk/>
            <pc:sldMk cId="3237477264" sldId="2146846392"/>
            <ac:picMk id="6" creationId="{B09638A6-6111-A6EC-914F-C98B17862DE6}"/>
          </ac:picMkLst>
        </pc:picChg>
      </pc:sldChg>
      <pc:sldChg chg="addSp delSp modSp add mod ord delAnim modAnim modShow modNotesTx">
        <pc:chgData name="Md Fahim Hasan" userId="92968fce-d4dd-4b9e-8635-66a07c9f98a7" providerId="ADAL" clId="{3A6F4128-6482-4C75-8C7D-220A75826C22}" dt="2023-07-28T19:09:38.040" v="39267"/>
        <pc:sldMkLst>
          <pc:docMk/>
          <pc:sldMk cId="1203333433" sldId="2146846393"/>
        </pc:sldMkLst>
        <pc:spChg chg="mod">
          <ac:chgData name="Md Fahim Hasan" userId="92968fce-d4dd-4b9e-8635-66a07c9f98a7" providerId="ADAL" clId="{3A6F4128-6482-4C75-8C7D-220A75826C22}" dt="2023-07-27T15:51:58.279" v="35706"/>
          <ac:spMkLst>
            <pc:docMk/>
            <pc:sldMk cId="1203333433" sldId="2146846393"/>
            <ac:spMk id="2" creationId="{D6F33AD6-BCD0-7BD2-5890-1C682DC785B4}"/>
          </ac:spMkLst>
        </pc:spChg>
        <pc:spChg chg="add mod">
          <ac:chgData name="Md Fahim Hasan" userId="92968fce-d4dd-4b9e-8635-66a07c9f98a7" providerId="ADAL" clId="{3A6F4128-6482-4C75-8C7D-220A75826C22}" dt="2023-07-27T19:42:54.665" v="37562" actId="1035"/>
          <ac:spMkLst>
            <pc:docMk/>
            <pc:sldMk cId="1203333433" sldId="2146846393"/>
            <ac:spMk id="3" creationId="{51005D58-E908-FD88-9D81-C64DF2EA80B8}"/>
          </ac:spMkLst>
        </pc:spChg>
        <pc:spChg chg="add mod">
          <ac:chgData name="Md Fahim Hasan" userId="92968fce-d4dd-4b9e-8635-66a07c9f98a7" providerId="ADAL" clId="{3A6F4128-6482-4C75-8C7D-220A75826C22}" dt="2023-07-25T20:26:04.526" v="20498" actId="115"/>
          <ac:spMkLst>
            <pc:docMk/>
            <pc:sldMk cId="1203333433" sldId="2146846393"/>
            <ac:spMk id="5" creationId="{BC1754F1-682A-BE94-E0A0-10CA6FA4AE0D}"/>
          </ac:spMkLst>
        </pc:spChg>
        <pc:spChg chg="mod">
          <ac:chgData name="Md Fahim Hasan" userId="92968fce-d4dd-4b9e-8635-66a07c9f98a7" providerId="ADAL" clId="{3A6F4128-6482-4C75-8C7D-220A75826C22}" dt="2023-07-20T18:22:00.441" v="9416" actId="20577"/>
          <ac:spMkLst>
            <pc:docMk/>
            <pc:sldMk cId="1203333433" sldId="2146846393"/>
            <ac:spMk id="9" creationId="{DCE765C9-F866-A10C-05BC-B0F5CF7D4FA9}"/>
          </ac:spMkLst>
        </pc:spChg>
        <pc:spChg chg="add mod">
          <ac:chgData name="Md Fahim Hasan" userId="92968fce-d4dd-4b9e-8635-66a07c9f98a7" providerId="ADAL" clId="{3A6F4128-6482-4C75-8C7D-220A75826C22}" dt="2023-07-27T19:43:01.122" v="37565" actId="1036"/>
          <ac:spMkLst>
            <pc:docMk/>
            <pc:sldMk cId="1203333433" sldId="2146846393"/>
            <ac:spMk id="10" creationId="{9D932580-339A-37B0-F320-67B70D40500D}"/>
          </ac:spMkLst>
        </pc:spChg>
        <pc:spChg chg="mod">
          <ac:chgData name="Md Fahim Hasan" userId="92968fce-d4dd-4b9e-8635-66a07c9f98a7" providerId="ADAL" clId="{3A6F4128-6482-4C75-8C7D-220A75826C22}" dt="2023-07-26T20:24:37.177" v="28016" actId="207"/>
          <ac:spMkLst>
            <pc:docMk/>
            <pc:sldMk cId="1203333433" sldId="2146846393"/>
            <ac:spMk id="11" creationId="{34104EF3-AE2A-10CD-807A-5E8D98642890}"/>
          </ac:spMkLst>
        </pc:spChg>
        <pc:spChg chg="mod">
          <ac:chgData name="Md Fahim Hasan" userId="92968fce-d4dd-4b9e-8635-66a07c9f98a7" providerId="ADAL" clId="{3A6F4128-6482-4C75-8C7D-220A75826C22}" dt="2023-07-26T20:24:47.118" v="28017" actId="207"/>
          <ac:spMkLst>
            <pc:docMk/>
            <pc:sldMk cId="1203333433" sldId="2146846393"/>
            <ac:spMk id="12" creationId="{563AE502-BE2B-F7DC-8070-3C524C7FC52F}"/>
          </ac:spMkLst>
        </pc:spChg>
        <pc:spChg chg="add del mod">
          <ac:chgData name="Md Fahim Hasan" userId="92968fce-d4dd-4b9e-8635-66a07c9f98a7" providerId="ADAL" clId="{3A6F4128-6482-4C75-8C7D-220A75826C22}" dt="2023-07-27T19:43:10.080" v="37567"/>
          <ac:spMkLst>
            <pc:docMk/>
            <pc:sldMk cId="1203333433" sldId="2146846393"/>
            <ac:spMk id="13" creationId="{3C65C6E5-12E8-24F4-AC96-45FC3A7F3EF9}"/>
          </ac:spMkLst>
        </pc:spChg>
        <pc:spChg chg="add mod">
          <ac:chgData name="Md Fahim Hasan" userId="92968fce-d4dd-4b9e-8635-66a07c9f98a7" providerId="ADAL" clId="{3A6F4128-6482-4C75-8C7D-220A75826C22}" dt="2023-07-27T19:43:54.121" v="37584" actId="1035"/>
          <ac:spMkLst>
            <pc:docMk/>
            <pc:sldMk cId="1203333433" sldId="2146846393"/>
            <ac:spMk id="14" creationId="{2416DFFF-9DB2-6452-E337-2741E2EE5981}"/>
          </ac:spMkLst>
        </pc:spChg>
        <pc:spChg chg="mod">
          <ac:chgData name="Md Fahim Hasan" userId="92968fce-d4dd-4b9e-8635-66a07c9f98a7" providerId="ADAL" clId="{3A6F4128-6482-4C75-8C7D-220A75826C22}" dt="2023-07-26T20:24:56.310" v="28018" actId="207"/>
          <ac:spMkLst>
            <pc:docMk/>
            <pc:sldMk cId="1203333433" sldId="2146846393"/>
            <ac:spMk id="15" creationId="{A831B13C-8409-F4FA-2FD1-7B0D4DD54039}"/>
          </ac:spMkLst>
        </pc:spChg>
        <pc:spChg chg="mod">
          <ac:chgData name="Md Fahim Hasan" userId="92968fce-d4dd-4b9e-8635-66a07c9f98a7" providerId="ADAL" clId="{3A6F4128-6482-4C75-8C7D-220A75826C22}" dt="2023-07-26T20:25:00.213" v="28019" actId="207"/>
          <ac:spMkLst>
            <pc:docMk/>
            <pc:sldMk cId="1203333433" sldId="2146846393"/>
            <ac:spMk id="16" creationId="{74FA2828-4265-79AB-6956-60772E0CBF25}"/>
          </ac:spMkLst>
        </pc:spChg>
        <pc:spChg chg="add mod">
          <ac:chgData name="Md Fahim Hasan" userId="92968fce-d4dd-4b9e-8635-66a07c9f98a7" providerId="ADAL" clId="{3A6F4128-6482-4C75-8C7D-220A75826C22}" dt="2023-07-27T19:44:03.081" v="37587" actId="1038"/>
          <ac:spMkLst>
            <pc:docMk/>
            <pc:sldMk cId="1203333433" sldId="2146846393"/>
            <ac:spMk id="17" creationId="{4227057D-0654-D6FE-B8C4-8FCDAB06CA6C}"/>
          </ac:spMkLst>
        </pc:spChg>
        <pc:picChg chg="mod">
          <ac:chgData name="Md Fahim Hasan" userId="92968fce-d4dd-4b9e-8635-66a07c9f98a7" providerId="ADAL" clId="{3A6F4128-6482-4C75-8C7D-220A75826C22}" dt="2023-07-26T23:00:09.438" v="30917" actId="14826"/>
          <ac:picMkLst>
            <pc:docMk/>
            <pc:sldMk cId="1203333433" sldId="2146846393"/>
            <ac:picMk id="4" creationId="{1B7C3091-DEA4-66D1-884C-6CB2FD58DBE7}"/>
          </ac:picMkLst>
        </pc:picChg>
        <pc:picChg chg="add mod">
          <ac:chgData name="Md Fahim Hasan" userId="92968fce-d4dd-4b9e-8635-66a07c9f98a7" providerId="ADAL" clId="{3A6F4128-6482-4C75-8C7D-220A75826C22}" dt="2023-07-27T17:18:34.492" v="36812" actId="1076"/>
          <ac:picMkLst>
            <pc:docMk/>
            <pc:sldMk cId="1203333433" sldId="2146846393"/>
            <ac:picMk id="6" creationId="{5E2191B3-98E6-B694-F261-D599E1961C3A}"/>
          </ac:picMkLst>
        </pc:picChg>
        <pc:picChg chg="mod">
          <ac:chgData name="Md Fahim Hasan" userId="92968fce-d4dd-4b9e-8635-66a07c9f98a7" providerId="ADAL" clId="{3A6F4128-6482-4C75-8C7D-220A75826C22}" dt="2023-07-26T23:00:13.979" v="30918" actId="14826"/>
          <ac:picMkLst>
            <pc:docMk/>
            <pc:sldMk cId="1203333433" sldId="2146846393"/>
            <ac:picMk id="7" creationId="{B5713B37-2314-473A-D0AE-587C49D1AB77}"/>
          </ac:picMkLst>
        </pc:picChg>
        <pc:picChg chg="add mod">
          <ac:chgData name="Md Fahim Hasan" userId="92968fce-d4dd-4b9e-8635-66a07c9f98a7" providerId="ADAL" clId="{3A6F4128-6482-4C75-8C7D-220A75826C22}" dt="2023-07-26T23:26:03.462" v="30929" actId="1035"/>
          <ac:picMkLst>
            <pc:docMk/>
            <pc:sldMk cId="1203333433" sldId="2146846393"/>
            <ac:picMk id="8" creationId="{B9E0931F-AF13-AB52-802B-BAF25FB5B5C6}"/>
          </ac:picMkLst>
        </pc:picChg>
        <pc:picChg chg="del mod">
          <ac:chgData name="Md Fahim Hasan" userId="92968fce-d4dd-4b9e-8635-66a07c9f98a7" providerId="ADAL" clId="{3A6F4128-6482-4C75-8C7D-220A75826C22}" dt="2023-07-25T19:54:26.196" v="19751" actId="478"/>
          <ac:picMkLst>
            <pc:docMk/>
            <pc:sldMk cId="1203333433" sldId="2146846393"/>
            <ac:picMk id="13" creationId="{46FD433A-9C17-B9F2-33F5-318B3A425069}"/>
          </ac:picMkLst>
        </pc:picChg>
        <pc:picChg chg="del mod">
          <ac:chgData name="Md Fahim Hasan" userId="92968fce-d4dd-4b9e-8635-66a07c9f98a7" providerId="ADAL" clId="{3A6F4128-6482-4C75-8C7D-220A75826C22}" dt="2023-07-25T19:54:26.196" v="19751" actId="478"/>
          <ac:picMkLst>
            <pc:docMk/>
            <pc:sldMk cId="1203333433" sldId="2146846393"/>
            <ac:picMk id="14" creationId="{D31D8173-1F85-39E6-CA70-70E6E8DBB3C5}"/>
          </ac:picMkLst>
        </pc:picChg>
        <pc:cxnChg chg="mod">
          <ac:chgData name="Md Fahim Hasan" userId="92968fce-d4dd-4b9e-8635-66a07c9f98a7" providerId="ADAL" clId="{3A6F4128-6482-4C75-8C7D-220A75826C22}" dt="2023-07-25T19:53:44.813" v="19739" actId="14100"/>
          <ac:cxnSpMkLst>
            <pc:docMk/>
            <pc:sldMk cId="1203333433" sldId="2146846393"/>
            <ac:cxnSpMk id="24" creationId="{99D01E62-F77D-E62A-0C2D-824A66B5AD7B}"/>
          </ac:cxnSpMkLst>
        </pc:cxnChg>
      </pc:sldChg>
      <pc:sldChg chg="delSp modSp add mod delAnim">
        <pc:chgData name="Md Fahim Hasan" userId="92968fce-d4dd-4b9e-8635-66a07c9f98a7" providerId="ADAL" clId="{3A6F4128-6482-4C75-8C7D-220A75826C22}" dt="2023-07-27T15:51:58.279" v="35706"/>
        <pc:sldMkLst>
          <pc:docMk/>
          <pc:sldMk cId="1245895723" sldId="2146846394"/>
        </pc:sldMkLst>
        <pc:spChg chg="mod">
          <ac:chgData name="Md Fahim Hasan" userId="92968fce-d4dd-4b9e-8635-66a07c9f98a7" providerId="ADAL" clId="{3A6F4128-6482-4C75-8C7D-220A75826C22}" dt="2023-07-27T15:51:58.279" v="35706"/>
          <ac:spMkLst>
            <pc:docMk/>
            <pc:sldMk cId="1245895723" sldId="2146846394"/>
            <ac:spMk id="2" creationId="{6DC7D8B5-FDA8-2CF0-13A4-9B583F7BAACF}"/>
          </ac:spMkLst>
        </pc:spChg>
        <pc:spChg chg="mod">
          <ac:chgData name="Md Fahim Hasan" userId="92968fce-d4dd-4b9e-8635-66a07c9f98a7" providerId="ADAL" clId="{3A6F4128-6482-4C75-8C7D-220A75826C22}" dt="2023-07-18T18:07:43.689" v="4383" actId="113"/>
          <ac:spMkLst>
            <pc:docMk/>
            <pc:sldMk cId="1245895723" sldId="2146846394"/>
            <ac:spMk id="9" creationId="{DCE765C9-F866-A10C-05BC-B0F5CF7D4FA9}"/>
          </ac:spMkLst>
        </pc:spChg>
        <pc:spChg chg="del">
          <ac:chgData name="Md Fahim Hasan" userId="92968fce-d4dd-4b9e-8635-66a07c9f98a7" providerId="ADAL" clId="{3A6F4128-6482-4C75-8C7D-220A75826C22}" dt="2023-07-18T18:07:31.859" v="4378" actId="478"/>
          <ac:spMkLst>
            <pc:docMk/>
            <pc:sldMk cId="1245895723" sldId="2146846394"/>
            <ac:spMk id="11" creationId="{34104EF3-AE2A-10CD-807A-5E8D98642890}"/>
          </ac:spMkLst>
        </pc:spChg>
        <pc:spChg chg="del">
          <ac:chgData name="Md Fahim Hasan" userId="92968fce-d4dd-4b9e-8635-66a07c9f98a7" providerId="ADAL" clId="{3A6F4128-6482-4C75-8C7D-220A75826C22}" dt="2023-07-18T18:07:31.859" v="4378" actId="478"/>
          <ac:spMkLst>
            <pc:docMk/>
            <pc:sldMk cId="1245895723" sldId="2146846394"/>
            <ac:spMk id="12" creationId="{563AE502-BE2B-F7DC-8070-3C524C7FC52F}"/>
          </ac:spMkLst>
        </pc:spChg>
        <pc:spChg chg="del mod">
          <ac:chgData name="Md Fahim Hasan" userId="92968fce-d4dd-4b9e-8635-66a07c9f98a7" providerId="ADAL" clId="{3A6F4128-6482-4C75-8C7D-220A75826C22}" dt="2023-07-18T18:07:31.859" v="4378" actId="478"/>
          <ac:spMkLst>
            <pc:docMk/>
            <pc:sldMk cId="1245895723" sldId="2146846394"/>
            <ac:spMk id="15" creationId="{A831B13C-8409-F4FA-2FD1-7B0D4DD54039}"/>
          </ac:spMkLst>
        </pc:spChg>
        <pc:spChg chg="del">
          <ac:chgData name="Md Fahim Hasan" userId="92968fce-d4dd-4b9e-8635-66a07c9f98a7" providerId="ADAL" clId="{3A6F4128-6482-4C75-8C7D-220A75826C22}" dt="2023-07-18T18:07:31.859" v="4378" actId="478"/>
          <ac:spMkLst>
            <pc:docMk/>
            <pc:sldMk cId="1245895723" sldId="2146846394"/>
            <ac:spMk id="16" creationId="{74FA2828-4265-79AB-6956-60772E0CBF25}"/>
          </ac:spMkLst>
        </pc:spChg>
        <pc:picChg chg="del">
          <ac:chgData name="Md Fahim Hasan" userId="92968fce-d4dd-4b9e-8635-66a07c9f98a7" providerId="ADAL" clId="{3A6F4128-6482-4C75-8C7D-220A75826C22}" dt="2023-07-18T18:07:31.859" v="4378" actId="478"/>
          <ac:picMkLst>
            <pc:docMk/>
            <pc:sldMk cId="1245895723" sldId="2146846394"/>
            <ac:picMk id="4" creationId="{1B7C3091-DEA4-66D1-884C-6CB2FD58DBE7}"/>
          </ac:picMkLst>
        </pc:picChg>
        <pc:picChg chg="del">
          <ac:chgData name="Md Fahim Hasan" userId="92968fce-d4dd-4b9e-8635-66a07c9f98a7" providerId="ADAL" clId="{3A6F4128-6482-4C75-8C7D-220A75826C22}" dt="2023-07-18T18:07:31.859" v="4378" actId="478"/>
          <ac:picMkLst>
            <pc:docMk/>
            <pc:sldMk cId="1245895723" sldId="2146846394"/>
            <ac:picMk id="7" creationId="{B5713B37-2314-473A-D0AE-587C49D1AB77}"/>
          </ac:picMkLst>
        </pc:picChg>
        <pc:picChg chg="del">
          <ac:chgData name="Md Fahim Hasan" userId="92968fce-d4dd-4b9e-8635-66a07c9f98a7" providerId="ADAL" clId="{3A6F4128-6482-4C75-8C7D-220A75826C22}" dt="2023-07-18T18:07:23.722" v="4373" actId="478"/>
          <ac:picMkLst>
            <pc:docMk/>
            <pc:sldMk cId="1245895723" sldId="2146846394"/>
            <ac:picMk id="13" creationId="{46FD433A-9C17-B9F2-33F5-318B3A425069}"/>
          </ac:picMkLst>
        </pc:picChg>
        <pc:picChg chg="del">
          <ac:chgData name="Md Fahim Hasan" userId="92968fce-d4dd-4b9e-8635-66a07c9f98a7" providerId="ADAL" clId="{3A6F4128-6482-4C75-8C7D-220A75826C22}" dt="2023-07-18T18:07:24.373" v="4374" actId="478"/>
          <ac:picMkLst>
            <pc:docMk/>
            <pc:sldMk cId="1245895723" sldId="2146846394"/>
            <ac:picMk id="14" creationId="{D31D8173-1F85-39E6-CA70-70E6E8DBB3C5}"/>
          </ac:picMkLst>
        </pc:picChg>
        <pc:cxnChg chg="del">
          <ac:chgData name="Md Fahim Hasan" userId="92968fce-d4dd-4b9e-8635-66a07c9f98a7" providerId="ADAL" clId="{3A6F4128-6482-4C75-8C7D-220A75826C22}" dt="2023-07-18T18:07:27.250" v="4376" actId="478"/>
          <ac:cxnSpMkLst>
            <pc:docMk/>
            <pc:sldMk cId="1245895723" sldId="2146846394"/>
            <ac:cxnSpMk id="24" creationId="{99D01E62-F77D-E62A-0C2D-824A66B5AD7B}"/>
          </ac:cxnSpMkLst>
        </pc:cxnChg>
      </pc:sldChg>
      <pc:sldChg chg="addSp modSp add del mod modAnim">
        <pc:chgData name="Md Fahim Hasan" userId="92968fce-d4dd-4b9e-8635-66a07c9f98a7" providerId="ADAL" clId="{3A6F4128-6482-4C75-8C7D-220A75826C22}" dt="2023-07-25T20:24:34.529" v="20469" actId="47"/>
        <pc:sldMkLst>
          <pc:docMk/>
          <pc:sldMk cId="4203339022" sldId="2146846395"/>
        </pc:sldMkLst>
        <pc:spChg chg="add mod">
          <ac:chgData name="Md Fahim Hasan" userId="92968fce-d4dd-4b9e-8635-66a07c9f98a7" providerId="ADAL" clId="{3A6F4128-6482-4C75-8C7D-220A75826C22}" dt="2023-07-18T18:15:08.467" v="4581" actId="12"/>
          <ac:spMkLst>
            <pc:docMk/>
            <pc:sldMk cId="4203339022" sldId="2146846395"/>
            <ac:spMk id="2" creationId="{2D24C0E3-9AC6-9E0F-FEBB-E309F201ABEA}"/>
          </ac:spMkLst>
        </pc:spChg>
        <pc:spChg chg="mod">
          <ac:chgData name="Md Fahim Hasan" userId="92968fce-d4dd-4b9e-8635-66a07c9f98a7" providerId="ADAL" clId="{3A6F4128-6482-4C75-8C7D-220A75826C22}" dt="2023-07-20T18:09:46.552" v="9340" actId="20577"/>
          <ac:spMkLst>
            <pc:docMk/>
            <pc:sldMk cId="4203339022" sldId="2146846395"/>
            <ac:spMk id="9" creationId="{DCE765C9-F866-A10C-05BC-B0F5CF7D4FA9}"/>
          </ac:spMkLst>
        </pc:spChg>
        <pc:spChg chg="mod">
          <ac:chgData name="Md Fahim Hasan" userId="92968fce-d4dd-4b9e-8635-66a07c9f98a7" providerId="ADAL" clId="{3A6F4128-6482-4C75-8C7D-220A75826C22}" dt="2023-07-18T18:11:44.761" v="4414" actId="1076"/>
          <ac:spMkLst>
            <pc:docMk/>
            <pc:sldMk cId="4203339022" sldId="2146846395"/>
            <ac:spMk id="11" creationId="{34104EF3-AE2A-10CD-807A-5E8D98642890}"/>
          </ac:spMkLst>
        </pc:spChg>
        <pc:spChg chg="mod">
          <ac:chgData name="Md Fahim Hasan" userId="92968fce-d4dd-4b9e-8635-66a07c9f98a7" providerId="ADAL" clId="{3A6F4128-6482-4C75-8C7D-220A75826C22}" dt="2023-07-18T18:11:44.761" v="4414" actId="1076"/>
          <ac:spMkLst>
            <pc:docMk/>
            <pc:sldMk cId="4203339022" sldId="2146846395"/>
            <ac:spMk id="12" creationId="{563AE502-BE2B-F7DC-8070-3C524C7FC52F}"/>
          </ac:spMkLst>
        </pc:spChg>
        <pc:spChg chg="mod">
          <ac:chgData name="Md Fahim Hasan" userId="92968fce-d4dd-4b9e-8635-66a07c9f98a7" providerId="ADAL" clId="{3A6F4128-6482-4C75-8C7D-220A75826C22}" dt="2023-07-18T18:14:50.999" v="4578" actId="1037"/>
          <ac:spMkLst>
            <pc:docMk/>
            <pc:sldMk cId="4203339022" sldId="2146846395"/>
            <ac:spMk id="15" creationId="{A831B13C-8409-F4FA-2FD1-7B0D4DD54039}"/>
          </ac:spMkLst>
        </pc:spChg>
        <pc:spChg chg="mod">
          <ac:chgData name="Md Fahim Hasan" userId="92968fce-d4dd-4b9e-8635-66a07c9f98a7" providerId="ADAL" clId="{3A6F4128-6482-4C75-8C7D-220A75826C22}" dt="2023-07-18T18:14:50.999" v="4578" actId="1037"/>
          <ac:spMkLst>
            <pc:docMk/>
            <pc:sldMk cId="4203339022" sldId="2146846395"/>
            <ac:spMk id="16" creationId="{74FA2828-4265-79AB-6956-60772E0CBF25}"/>
          </ac:spMkLst>
        </pc:spChg>
        <pc:picChg chg="mod">
          <ac:chgData name="Md Fahim Hasan" userId="92968fce-d4dd-4b9e-8635-66a07c9f98a7" providerId="ADAL" clId="{3A6F4128-6482-4C75-8C7D-220A75826C22}" dt="2023-07-21T23:46:04.751" v="14165" actId="14826"/>
          <ac:picMkLst>
            <pc:docMk/>
            <pc:sldMk cId="4203339022" sldId="2146846395"/>
            <ac:picMk id="4" creationId="{1B7C3091-DEA4-66D1-884C-6CB2FD58DBE7}"/>
          </ac:picMkLst>
        </pc:picChg>
        <pc:picChg chg="mod">
          <ac:chgData name="Md Fahim Hasan" userId="92968fce-d4dd-4b9e-8635-66a07c9f98a7" providerId="ADAL" clId="{3A6F4128-6482-4C75-8C7D-220A75826C22}" dt="2023-07-21T23:45:57.331" v="14164" actId="14826"/>
          <ac:picMkLst>
            <pc:docMk/>
            <pc:sldMk cId="4203339022" sldId="2146846395"/>
            <ac:picMk id="7" creationId="{B5713B37-2314-473A-D0AE-587C49D1AB77}"/>
          </ac:picMkLst>
        </pc:picChg>
        <pc:picChg chg="mod">
          <ac:chgData name="Md Fahim Hasan" userId="92968fce-d4dd-4b9e-8635-66a07c9f98a7" providerId="ADAL" clId="{3A6F4128-6482-4C75-8C7D-220A75826C22}" dt="2023-07-21T23:47:26.221" v="14167" actId="14826"/>
          <ac:picMkLst>
            <pc:docMk/>
            <pc:sldMk cId="4203339022" sldId="2146846395"/>
            <ac:picMk id="13" creationId="{46FD433A-9C17-B9F2-33F5-318B3A425069}"/>
          </ac:picMkLst>
        </pc:picChg>
        <pc:picChg chg="mod">
          <ac:chgData name="Md Fahim Hasan" userId="92968fce-d4dd-4b9e-8635-66a07c9f98a7" providerId="ADAL" clId="{3A6F4128-6482-4C75-8C7D-220A75826C22}" dt="2023-07-21T23:47:21.071" v="14166" actId="14826"/>
          <ac:picMkLst>
            <pc:docMk/>
            <pc:sldMk cId="4203339022" sldId="2146846395"/>
            <ac:picMk id="14" creationId="{D31D8173-1F85-39E6-CA70-70E6E8DBB3C5}"/>
          </ac:picMkLst>
        </pc:picChg>
        <pc:cxnChg chg="mod">
          <ac:chgData name="Md Fahim Hasan" userId="92968fce-d4dd-4b9e-8635-66a07c9f98a7" providerId="ADAL" clId="{3A6F4128-6482-4C75-8C7D-220A75826C22}" dt="2023-07-18T18:14:45.255" v="4566" actId="1037"/>
          <ac:cxnSpMkLst>
            <pc:docMk/>
            <pc:sldMk cId="4203339022" sldId="2146846395"/>
            <ac:cxnSpMk id="24" creationId="{99D01E62-F77D-E62A-0C2D-824A66B5AD7B}"/>
          </ac:cxnSpMkLst>
        </pc:cxnChg>
      </pc:sldChg>
      <pc:sldChg chg="addSp delSp modSp add mod ord delAnim modAnim modShow">
        <pc:chgData name="Md Fahim Hasan" userId="92968fce-d4dd-4b9e-8635-66a07c9f98a7" providerId="ADAL" clId="{3A6F4128-6482-4C75-8C7D-220A75826C22}" dt="2023-07-28T19:09:04.976" v="39264"/>
        <pc:sldMkLst>
          <pc:docMk/>
          <pc:sldMk cId="310068329" sldId="2146846396"/>
        </pc:sldMkLst>
        <pc:spChg chg="mod">
          <ac:chgData name="Md Fahim Hasan" userId="92968fce-d4dd-4b9e-8635-66a07c9f98a7" providerId="ADAL" clId="{3A6F4128-6482-4C75-8C7D-220A75826C22}" dt="2023-07-27T15:51:58.279" v="35706"/>
          <ac:spMkLst>
            <pc:docMk/>
            <pc:sldMk cId="310068329" sldId="2146846396"/>
            <ac:spMk id="2" creationId="{273AD75B-B440-73BF-172F-0AFD207882D0}"/>
          </ac:spMkLst>
        </pc:spChg>
        <pc:spChg chg="add del mod">
          <ac:chgData name="Md Fahim Hasan" userId="92968fce-d4dd-4b9e-8635-66a07c9f98a7" providerId="ADAL" clId="{3A6F4128-6482-4C75-8C7D-220A75826C22}" dt="2023-07-26T21:05:16.986" v="29398" actId="478"/>
          <ac:spMkLst>
            <pc:docMk/>
            <pc:sldMk cId="310068329" sldId="2146846396"/>
            <ac:spMk id="5" creationId="{734C5C0D-A824-1379-DCD2-DB0E9EE5F083}"/>
          </ac:spMkLst>
        </pc:spChg>
        <pc:spChg chg="add mod">
          <ac:chgData name="Md Fahim Hasan" userId="92968fce-d4dd-4b9e-8635-66a07c9f98a7" providerId="ADAL" clId="{3A6F4128-6482-4C75-8C7D-220A75826C22}" dt="2023-07-27T19:47:08.928" v="37619" actId="1036"/>
          <ac:spMkLst>
            <pc:docMk/>
            <pc:sldMk cId="310068329" sldId="2146846396"/>
            <ac:spMk id="5" creationId="{928ADAB0-2521-2F4C-A186-D157315588B6}"/>
          </ac:spMkLst>
        </pc:spChg>
        <pc:spChg chg="add mod">
          <ac:chgData name="Md Fahim Hasan" userId="92968fce-d4dd-4b9e-8635-66a07c9f98a7" providerId="ADAL" clId="{3A6F4128-6482-4C75-8C7D-220A75826C22}" dt="2023-07-27T15:15:30.465" v="35573" actId="20577"/>
          <ac:spMkLst>
            <pc:docMk/>
            <pc:sldMk cId="310068329" sldId="2146846396"/>
            <ac:spMk id="7" creationId="{4FD26440-7283-8187-931C-9A2076A55614}"/>
          </ac:spMkLst>
        </pc:spChg>
        <pc:spChg chg="add mod">
          <ac:chgData name="Md Fahim Hasan" userId="92968fce-d4dd-4b9e-8635-66a07c9f98a7" providerId="ADAL" clId="{3A6F4128-6482-4C75-8C7D-220A75826C22}" dt="2023-07-27T15:15:41.506" v="35577" actId="20577"/>
          <ac:spMkLst>
            <pc:docMk/>
            <pc:sldMk cId="310068329" sldId="2146846396"/>
            <ac:spMk id="8" creationId="{203D7B8F-E699-0F7B-F591-9A5FC71526DB}"/>
          </ac:spMkLst>
        </pc:spChg>
        <pc:spChg chg="mod">
          <ac:chgData name="Md Fahim Hasan" userId="92968fce-d4dd-4b9e-8635-66a07c9f98a7" providerId="ADAL" clId="{3A6F4128-6482-4C75-8C7D-220A75826C22}" dt="2023-07-20T18:21:49.625" v="9413" actId="20577"/>
          <ac:spMkLst>
            <pc:docMk/>
            <pc:sldMk cId="310068329" sldId="2146846396"/>
            <ac:spMk id="9" creationId="{DCE765C9-F866-A10C-05BC-B0F5CF7D4FA9}"/>
          </ac:spMkLst>
        </pc:spChg>
        <pc:spChg chg="mod">
          <ac:chgData name="Md Fahim Hasan" userId="92968fce-d4dd-4b9e-8635-66a07c9f98a7" providerId="ADAL" clId="{3A6F4128-6482-4C75-8C7D-220A75826C22}" dt="2023-07-27T15:14:37.554" v="35569" actId="20577"/>
          <ac:spMkLst>
            <pc:docMk/>
            <pc:sldMk cId="310068329" sldId="2146846396"/>
            <ac:spMk id="10" creationId="{DDD763E9-CE6D-7E6C-735D-E01DF9793F16}"/>
          </ac:spMkLst>
        </pc:spChg>
        <pc:spChg chg="add mod">
          <ac:chgData name="Md Fahim Hasan" userId="92968fce-d4dd-4b9e-8635-66a07c9f98a7" providerId="ADAL" clId="{3A6F4128-6482-4C75-8C7D-220A75826C22}" dt="2023-07-27T15:16:16.435" v="35583" actId="1076"/>
          <ac:spMkLst>
            <pc:docMk/>
            <pc:sldMk cId="310068329" sldId="2146846396"/>
            <ac:spMk id="11" creationId="{8F066125-9191-2409-EB91-B3F97BFD33F4}"/>
          </ac:spMkLst>
        </pc:spChg>
        <pc:spChg chg="add mod">
          <ac:chgData name="Md Fahim Hasan" userId="92968fce-d4dd-4b9e-8635-66a07c9f98a7" providerId="ADAL" clId="{3A6F4128-6482-4C75-8C7D-220A75826C22}" dt="2023-07-27T19:53:01.957" v="37650" actId="1036"/>
          <ac:spMkLst>
            <pc:docMk/>
            <pc:sldMk cId="310068329" sldId="2146846396"/>
            <ac:spMk id="12" creationId="{227954B6-5A60-968D-525D-058922609EBB}"/>
          </ac:spMkLst>
        </pc:spChg>
        <pc:spChg chg="add mod">
          <ac:chgData name="Md Fahim Hasan" userId="92968fce-d4dd-4b9e-8635-66a07c9f98a7" providerId="ADAL" clId="{3A6F4128-6482-4C75-8C7D-220A75826C22}" dt="2023-07-27T19:48:08.856" v="37634" actId="1076"/>
          <ac:spMkLst>
            <pc:docMk/>
            <pc:sldMk cId="310068329" sldId="2146846396"/>
            <ac:spMk id="13" creationId="{74C80300-FCA7-F168-3524-875E4815B852}"/>
          </ac:spMkLst>
        </pc:spChg>
        <pc:spChg chg="del">
          <ac:chgData name="Md Fahim Hasan" userId="92968fce-d4dd-4b9e-8635-66a07c9f98a7" providerId="ADAL" clId="{3A6F4128-6482-4C75-8C7D-220A75826C22}" dt="2023-07-18T18:47:37.462" v="4623" actId="478"/>
          <ac:spMkLst>
            <pc:docMk/>
            <pc:sldMk cId="310068329" sldId="2146846396"/>
            <ac:spMk id="19" creationId="{688695E6-03F4-CEE4-56E6-1BA85F5F2FA3}"/>
          </ac:spMkLst>
        </pc:spChg>
        <pc:spChg chg="del mod">
          <ac:chgData name="Md Fahim Hasan" userId="92968fce-d4dd-4b9e-8635-66a07c9f98a7" providerId="ADAL" clId="{3A6F4128-6482-4C75-8C7D-220A75826C22}" dt="2023-07-26T21:05:18.827" v="29399" actId="478"/>
          <ac:spMkLst>
            <pc:docMk/>
            <pc:sldMk cId="310068329" sldId="2146846396"/>
            <ac:spMk id="20" creationId="{040BCA99-2FFF-618A-ADD3-A00006589972}"/>
          </ac:spMkLst>
        </pc:spChg>
        <pc:spChg chg="del mod">
          <ac:chgData name="Md Fahim Hasan" userId="92968fce-d4dd-4b9e-8635-66a07c9f98a7" providerId="ADAL" clId="{3A6F4128-6482-4C75-8C7D-220A75826C22}" dt="2023-07-26T21:05:19.922" v="29400" actId="478"/>
          <ac:spMkLst>
            <pc:docMk/>
            <pc:sldMk cId="310068329" sldId="2146846396"/>
            <ac:spMk id="21" creationId="{98121FFD-BBA3-C6B1-9D6D-86E506BF8E8B}"/>
          </ac:spMkLst>
        </pc:spChg>
        <pc:picChg chg="mod">
          <ac:chgData name="Md Fahim Hasan" userId="92968fce-d4dd-4b9e-8635-66a07c9f98a7" providerId="ADAL" clId="{3A6F4128-6482-4C75-8C7D-220A75826C22}" dt="2023-07-27T00:08:53.328" v="31974" actId="1036"/>
          <ac:picMkLst>
            <pc:docMk/>
            <pc:sldMk cId="310068329" sldId="2146846396"/>
            <ac:picMk id="3" creationId="{72FDB37B-E1DB-C812-CAB0-7BE1829D147F}"/>
          </ac:picMkLst>
        </pc:picChg>
        <pc:picChg chg="add mod">
          <ac:chgData name="Md Fahim Hasan" userId="92968fce-d4dd-4b9e-8635-66a07c9f98a7" providerId="ADAL" clId="{3A6F4128-6482-4C75-8C7D-220A75826C22}" dt="2023-07-27T19:47:18.709" v="37622" actId="1076"/>
          <ac:picMkLst>
            <pc:docMk/>
            <pc:sldMk cId="310068329" sldId="2146846396"/>
            <ac:picMk id="4" creationId="{FD3D3A44-DBBD-C5CF-FBF1-D8AF7E66C4D4}"/>
          </ac:picMkLst>
        </pc:picChg>
        <pc:picChg chg="mod">
          <ac:chgData name="Md Fahim Hasan" userId="92968fce-d4dd-4b9e-8635-66a07c9f98a7" providerId="ADAL" clId="{3A6F4128-6482-4C75-8C7D-220A75826C22}" dt="2023-07-27T00:08:35.514" v="31970" actId="14826"/>
          <ac:picMkLst>
            <pc:docMk/>
            <pc:sldMk cId="310068329" sldId="2146846396"/>
            <ac:picMk id="6" creationId="{B09638A6-6111-A6EC-914F-C98B17862DE6}"/>
          </ac:picMkLst>
        </pc:picChg>
        <pc:picChg chg="del">
          <ac:chgData name="Md Fahim Hasan" userId="92968fce-d4dd-4b9e-8635-66a07c9f98a7" providerId="ADAL" clId="{3A6F4128-6482-4C75-8C7D-220A75826C22}" dt="2023-07-18T18:47:35.535" v="4622" actId="478"/>
          <ac:picMkLst>
            <pc:docMk/>
            <pc:sldMk cId="310068329" sldId="2146846396"/>
            <ac:picMk id="8" creationId="{1F7DC9F6-9984-9A8A-6C84-FC2CCC04B586}"/>
          </ac:picMkLst>
        </pc:picChg>
        <pc:cxnChg chg="del">
          <ac:chgData name="Md Fahim Hasan" userId="92968fce-d4dd-4b9e-8635-66a07c9f98a7" providerId="ADAL" clId="{3A6F4128-6482-4C75-8C7D-220A75826C22}" dt="2023-07-18T18:47:38.796" v="4624" actId="478"/>
          <ac:cxnSpMkLst>
            <pc:docMk/>
            <pc:sldMk cId="310068329" sldId="2146846396"/>
            <ac:cxnSpMk id="24" creationId="{99D01E62-F77D-E62A-0C2D-824A66B5AD7B}"/>
          </ac:cxnSpMkLst>
        </pc:cxnChg>
      </pc:sldChg>
      <pc:sldChg chg="addSp delSp modSp add mod addAnim delAnim modAnim modNotesTx">
        <pc:chgData name="Md Fahim Hasan" userId="92968fce-d4dd-4b9e-8635-66a07c9f98a7" providerId="ADAL" clId="{3A6F4128-6482-4C75-8C7D-220A75826C22}" dt="2023-07-28T17:28:14.339" v="38916"/>
        <pc:sldMkLst>
          <pc:docMk/>
          <pc:sldMk cId="4153267118" sldId="2146846397"/>
        </pc:sldMkLst>
        <pc:spChg chg="mod">
          <ac:chgData name="Md Fahim Hasan" userId="92968fce-d4dd-4b9e-8635-66a07c9f98a7" providerId="ADAL" clId="{3A6F4128-6482-4C75-8C7D-220A75826C22}" dt="2023-07-27T15:51:58.279" v="35706"/>
          <ac:spMkLst>
            <pc:docMk/>
            <pc:sldMk cId="4153267118" sldId="2146846397"/>
            <ac:spMk id="2" creationId="{1C82C6A7-0B60-5904-7191-52D87BAE4CAA}"/>
          </ac:spMkLst>
        </pc:spChg>
        <pc:spChg chg="add del mod">
          <ac:chgData name="Md Fahim Hasan" userId="92968fce-d4dd-4b9e-8635-66a07c9f98a7" providerId="ADAL" clId="{3A6F4128-6482-4C75-8C7D-220A75826C22}" dt="2023-07-18T20:00:51.703" v="5963" actId="478"/>
          <ac:spMkLst>
            <pc:docMk/>
            <pc:sldMk cId="4153267118" sldId="2146846397"/>
            <ac:spMk id="2" creationId="{B0865CE3-FB3D-D767-F7F8-E149E6F708BA}"/>
          </ac:spMkLst>
        </pc:spChg>
        <pc:spChg chg="add mod">
          <ac:chgData name="Md Fahim Hasan" userId="92968fce-d4dd-4b9e-8635-66a07c9f98a7" providerId="ADAL" clId="{3A6F4128-6482-4C75-8C7D-220A75826C22}" dt="2023-07-27T19:52:45.803" v="37648" actId="1038"/>
          <ac:spMkLst>
            <pc:docMk/>
            <pc:sldMk cId="4153267118" sldId="2146846397"/>
            <ac:spMk id="5" creationId="{3AC0F889-BED4-C74B-8469-EEF1A8DA53E0}"/>
          </ac:spMkLst>
        </pc:spChg>
        <pc:spChg chg="add del mod">
          <ac:chgData name="Md Fahim Hasan" userId="92968fce-d4dd-4b9e-8635-66a07c9f98a7" providerId="ADAL" clId="{3A6F4128-6482-4C75-8C7D-220A75826C22}" dt="2023-07-18T19:36:05.049" v="5428" actId="478"/>
          <ac:spMkLst>
            <pc:docMk/>
            <pc:sldMk cId="4153267118" sldId="2146846397"/>
            <ac:spMk id="5" creationId="{734C5C0D-A824-1379-DCD2-DB0E9EE5F083}"/>
          </ac:spMkLst>
        </pc:spChg>
        <pc:spChg chg="add mod">
          <ac:chgData name="Md Fahim Hasan" userId="92968fce-d4dd-4b9e-8635-66a07c9f98a7" providerId="ADAL" clId="{3A6F4128-6482-4C75-8C7D-220A75826C22}" dt="2023-07-27T19:53:25.749" v="37664" actId="1036"/>
          <ac:spMkLst>
            <pc:docMk/>
            <pc:sldMk cId="4153267118" sldId="2146846397"/>
            <ac:spMk id="7" creationId="{E7D98BCB-75F7-D5E6-DBFC-7E8617B6E4CF}"/>
          </ac:spMkLst>
        </pc:spChg>
        <pc:spChg chg="add del mod">
          <ac:chgData name="Md Fahim Hasan" userId="92968fce-d4dd-4b9e-8635-66a07c9f98a7" providerId="ADAL" clId="{3A6F4128-6482-4C75-8C7D-220A75826C22}" dt="2023-07-26T21:07:02.865" v="29414" actId="478"/>
          <ac:spMkLst>
            <pc:docMk/>
            <pc:sldMk cId="4153267118" sldId="2146846397"/>
            <ac:spMk id="8" creationId="{488564AF-ED48-95FA-4934-A009364B5CA8}"/>
          </ac:spMkLst>
        </pc:spChg>
        <pc:spChg chg="add mod">
          <ac:chgData name="Md Fahim Hasan" userId="92968fce-d4dd-4b9e-8635-66a07c9f98a7" providerId="ADAL" clId="{3A6F4128-6482-4C75-8C7D-220A75826C22}" dt="2023-07-27T19:53:54.542" v="37678" actId="1037"/>
          <ac:spMkLst>
            <pc:docMk/>
            <pc:sldMk cId="4153267118" sldId="2146846397"/>
            <ac:spMk id="8" creationId="{7DF1818C-1117-E333-723F-871FC2937F8E}"/>
          </ac:spMkLst>
        </pc:spChg>
        <pc:spChg chg="mod">
          <ac:chgData name="Md Fahim Hasan" userId="92968fce-d4dd-4b9e-8635-66a07c9f98a7" providerId="ADAL" clId="{3A6F4128-6482-4C75-8C7D-220A75826C22}" dt="2023-07-20T18:21:45.787" v="9411" actId="6549"/>
          <ac:spMkLst>
            <pc:docMk/>
            <pc:sldMk cId="4153267118" sldId="2146846397"/>
            <ac:spMk id="9" creationId="{DCE765C9-F866-A10C-05BC-B0F5CF7D4FA9}"/>
          </ac:spMkLst>
        </pc:spChg>
        <pc:spChg chg="mod">
          <ac:chgData name="Md Fahim Hasan" userId="92968fce-d4dd-4b9e-8635-66a07c9f98a7" providerId="ADAL" clId="{3A6F4128-6482-4C75-8C7D-220A75826C22}" dt="2023-07-21T17:37:23.551" v="11327" actId="403"/>
          <ac:spMkLst>
            <pc:docMk/>
            <pc:sldMk cId="4153267118" sldId="2146846397"/>
            <ac:spMk id="10" creationId="{DDD763E9-CE6D-7E6C-735D-E01DF9793F16}"/>
          </ac:spMkLst>
        </pc:spChg>
        <pc:spChg chg="add del mod">
          <ac:chgData name="Md Fahim Hasan" userId="92968fce-d4dd-4b9e-8635-66a07c9f98a7" providerId="ADAL" clId="{3A6F4128-6482-4C75-8C7D-220A75826C22}" dt="2023-07-26T21:07:05.392" v="29415" actId="478"/>
          <ac:spMkLst>
            <pc:docMk/>
            <pc:sldMk cId="4153267118" sldId="2146846397"/>
            <ac:spMk id="11" creationId="{0D7AF0F4-08C6-7F1D-3D1B-1C2C32B5CDE3}"/>
          </ac:spMkLst>
        </pc:spChg>
        <pc:spChg chg="add del mod">
          <ac:chgData name="Md Fahim Hasan" userId="92968fce-d4dd-4b9e-8635-66a07c9f98a7" providerId="ADAL" clId="{3A6F4128-6482-4C75-8C7D-220A75826C22}" dt="2023-07-26T21:07:02.865" v="29414" actId="478"/>
          <ac:spMkLst>
            <pc:docMk/>
            <pc:sldMk cId="4153267118" sldId="2146846397"/>
            <ac:spMk id="13" creationId="{9B9AD342-7B2D-913E-7482-A8B76E093DD8}"/>
          </ac:spMkLst>
        </pc:spChg>
        <pc:spChg chg="add del mod">
          <ac:chgData name="Md Fahim Hasan" userId="92968fce-d4dd-4b9e-8635-66a07c9f98a7" providerId="ADAL" clId="{3A6F4128-6482-4C75-8C7D-220A75826C22}" dt="2023-07-26T21:17:35.681" v="29418" actId="478"/>
          <ac:spMkLst>
            <pc:docMk/>
            <pc:sldMk cId="4153267118" sldId="2146846397"/>
            <ac:spMk id="14" creationId="{3EC5BBA1-1911-F053-1BE6-422FE9B54520}"/>
          </ac:spMkLst>
        </pc:spChg>
        <pc:spChg chg="add mod">
          <ac:chgData name="Md Fahim Hasan" userId="92968fce-d4dd-4b9e-8635-66a07c9f98a7" providerId="ADAL" clId="{3A6F4128-6482-4C75-8C7D-220A75826C22}" dt="2023-07-26T22:50:09.697" v="30907" actId="20577"/>
          <ac:spMkLst>
            <pc:docMk/>
            <pc:sldMk cId="4153267118" sldId="2146846397"/>
            <ac:spMk id="15" creationId="{284698FD-408B-BDA8-0B46-03D08E09360F}"/>
          </ac:spMkLst>
        </pc:spChg>
        <pc:spChg chg="add mod">
          <ac:chgData name="Md Fahim Hasan" userId="92968fce-d4dd-4b9e-8635-66a07c9f98a7" providerId="ADAL" clId="{3A6F4128-6482-4C75-8C7D-220A75826C22}" dt="2023-07-26T22:50:11.615" v="30908" actId="20577"/>
          <ac:spMkLst>
            <pc:docMk/>
            <pc:sldMk cId="4153267118" sldId="2146846397"/>
            <ac:spMk id="16" creationId="{8ECD6CE6-69D3-78B9-8E18-25AD59E4A71B}"/>
          </ac:spMkLst>
        </pc:spChg>
        <pc:spChg chg="add mod">
          <ac:chgData name="Md Fahim Hasan" userId="92968fce-d4dd-4b9e-8635-66a07c9f98a7" providerId="ADAL" clId="{3A6F4128-6482-4C75-8C7D-220A75826C22}" dt="2023-07-26T22:50:13.555" v="30909" actId="20577"/>
          <ac:spMkLst>
            <pc:docMk/>
            <pc:sldMk cId="4153267118" sldId="2146846397"/>
            <ac:spMk id="17" creationId="{4A85A3A9-4CA3-0AC7-5AC0-EFA7296F9A6B}"/>
          </ac:spMkLst>
        </pc:spChg>
        <pc:spChg chg="add del mod">
          <ac:chgData name="Md Fahim Hasan" userId="92968fce-d4dd-4b9e-8635-66a07c9f98a7" providerId="ADAL" clId="{3A6F4128-6482-4C75-8C7D-220A75826C22}" dt="2023-07-24T16:59:44.199" v="15317" actId="478"/>
          <ac:spMkLst>
            <pc:docMk/>
            <pc:sldMk cId="4153267118" sldId="2146846397"/>
            <ac:spMk id="20" creationId="{040BCA99-2FFF-618A-ADD3-A00006589972}"/>
          </ac:spMkLst>
        </pc:spChg>
        <pc:spChg chg="add del mod">
          <ac:chgData name="Md Fahim Hasan" userId="92968fce-d4dd-4b9e-8635-66a07c9f98a7" providerId="ADAL" clId="{3A6F4128-6482-4C75-8C7D-220A75826C22}" dt="2023-07-24T16:59:44.199" v="15317" actId="478"/>
          <ac:spMkLst>
            <pc:docMk/>
            <pc:sldMk cId="4153267118" sldId="2146846397"/>
            <ac:spMk id="21" creationId="{98121FFD-BBA3-C6B1-9D6D-86E506BF8E8B}"/>
          </ac:spMkLst>
        </pc:spChg>
        <pc:picChg chg="add mod">
          <ac:chgData name="Md Fahim Hasan" userId="92968fce-d4dd-4b9e-8635-66a07c9f98a7" providerId="ADAL" clId="{3A6F4128-6482-4C75-8C7D-220A75826C22}" dt="2023-07-27T19:53:46.844" v="37675" actId="1037"/>
          <ac:picMkLst>
            <pc:docMk/>
            <pc:sldMk cId="4153267118" sldId="2146846397"/>
            <ac:picMk id="3" creationId="{55F34D01-6534-BB1B-5C22-2FAC3A80633C}"/>
          </ac:picMkLst>
        </pc:picChg>
        <pc:picChg chg="add del mod modCrop">
          <ac:chgData name="Md Fahim Hasan" userId="92968fce-d4dd-4b9e-8635-66a07c9f98a7" providerId="ADAL" clId="{3A6F4128-6482-4C75-8C7D-220A75826C22}" dt="2023-07-24T16:59:44.199" v="15317" actId="478"/>
          <ac:picMkLst>
            <pc:docMk/>
            <pc:sldMk cId="4153267118" sldId="2146846397"/>
            <ac:picMk id="3" creationId="{72FDB37B-E1DB-C812-CAB0-7BE1829D147F}"/>
          </ac:picMkLst>
        </pc:picChg>
        <pc:picChg chg="add mod">
          <ac:chgData name="Md Fahim Hasan" userId="92968fce-d4dd-4b9e-8635-66a07c9f98a7" providerId="ADAL" clId="{3A6F4128-6482-4C75-8C7D-220A75826C22}" dt="2023-07-27T00:11:11.558" v="31975" actId="14826"/>
          <ac:picMkLst>
            <pc:docMk/>
            <pc:sldMk cId="4153267118" sldId="2146846397"/>
            <ac:picMk id="4" creationId="{3730187A-DDEF-53A2-3532-E1B080B668E4}"/>
          </ac:picMkLst>
        </pc:picChg>
        <pc:picChg chg="add del mod">
          <ac:chgData name="Md Fahim Hasan" userId="92968fce-d4dd-4b9e-8635-66a07c9f98a7" providerId="ADAL" clId="{3A6F4128-6482-4C75-8C7D-220A75826C22}" dt="2023-07-24T16:59:44.199" v="15317" actId="478"/>
          <ac:picMkLst>
            <pc:docMk/>
            <pc:sldMk cId="4153267118" sldId="2146846397"/>
            <ac:picMk id="4" creationId="{798A6474-FB78-0F6A-A3BB-03CF6190B4E0}"/>
          </ac:picMkLst>
        </pc:picChg>
        <pc:picChg chg="add del mod">
          <ac:chgData name="Md Fahim Hasan" userId="92968fce-d4dd-4b9e-8635-66a07c9f98a7" providerId="ADAL" clId="{3A6F4128-6482-4C75-8C7D-220A75826C22}" dt="2023-07-18T19:36:03.160" v="5427" actId="478"/>
          <ac:picMkLst>
            <pc:docMk/>
            <pc:sldMk cId="4153267118" sldId="2146846397"/>
            <ac:picMk id="4" creationId="{FD3D3A44-DBBD-C5CF-FBF1-D8AF7E66C4D4}"/>
          </ac:picMkLst>
        </pc:picChg>
        <pc:picChg chg="add del mod">
          <ac:chgData name="Md Fahim Hasan" userId="92968fce-d4dd-4b9e-8635-66a07c9f98a7" providerId="ADAL" clId="{3A6F4128-6482-4C75-8C7D-220A75826C22}" dt="2023-07-26T21:07:02.865" v="29414" actId="478"/>
          <ac:picMkLst>
            <pc:docMk/>
            <pc:sldMk cId="4153267118" sldId="2146846397"/>
            <ac:picMk id="5" creationId="{5EC03193-A670-0995-D09A-FAF5804070AD}"/>
          </ac:picMkLst>
        </pc:picChg>
        <pc:picChg chg="add mod">
          <ac:chgData name="Md Fahim Hasan" userId="92968fce-d4dd-4b9e-8635-66a07c9f98a7" providerId="ADAL" clId="{3A6F4128-6482-4C75-8C7D-220A75826C22}" dt="2023-07-27T19:51:27.309" v="37638" actId="1076"/>
          <ac:picMkLst>
            <pc:docMk/>
            <pc:sldMk cId="4153267118" sldId="2146846397"/>
            <ac:picMk id="6" creationId="{048B83B6-90B2-6A56-2877-709E60CB0BF8}"/>
          </ac:picMkLst>
        </pc:picChg>
        <pc:picChg chg="add del mod modCrop">
          <ac:chgData name="Md Fahim Hasan" userId="92968fce-d4dd-4b9e-8635-66a07c9f98a7" providerId="ADAL" clId="{3A6F4128-6482-4C75-8C7D-220A75826C22}" dt="2023-07-24T16:59:44.199" v="15317" actId="478"/>
          <ac:picMkLst>
            <pc:docMk/>
            <pc:sldMk cId="4153267118" sldId="2146846397"/>
            <ac:picMk id="6" creationId="{B09638A6-6111-A6EC-914F-C98B17862DE6}"/>
          </ac:picMkLst>
        </pc:picChg>
        <pc:picChg chg="add del mod">
          <ac:chgData name="Md Fahim Hasan" userId="92968fce-d4dd-4b9e-8635-66a07c9f98a7" providerId="ADAL" clId="{3A6F4128-6482-4C75-8C7D-220A75826C22}" dt="2023-07-26T21:07:02.865" v="29414" actId="478"/>
          <ac:picMkLst>
            <pc:docMk/>
            <pc:sldMk cId="4153267118" sldId="2146846397"/>
            <ac:picMk id="7" creationId="{DCE93C26-5D7B-F266-5F31-2ED225C9495C}"/>
          </ac:picMkLst>
        </pc:picChg>
        <pc:picChg chg="add del mod">
          <ac:chgData name="Md Fahim Hasan" userId="92968fce-d4dd-4b9e-8635-66a07c9f98a7" providerId="ADAL" clId="{3A6F4128-6482-4C75-8C7D-220A75826C22}" dt="2023-07-26T21:07:02.865" v="29414" actId="478"/>
          <ac:picMkLst>
            <pc:docMk/>
            <pc:sldMk cId="4153267118" sldId="2146846397"/>
            <ac:picMk id="12" creationId="{A572043A-A1C6-4604-5630-009BBE28CBBB}"/>
          </ac:picMkLst>
        </pc:picChg>
      </pc:sldChg>
      <pc:sldChg chg="addSp delSp modSp add mod ord delAnim modAnim modShow modNotesTx">
        <pc:chgData name="Md Fahim Hasan" userId="92968fce-d4dd-4b9e-8635-66a07c9f98a7" providerId="ADAL" clId="{3A6F4128-6482-4C75-8C7D-220A75826C22}" dt="2023-07-28T19:09:04.976" v="39264"/>
        <pc:sldMkLst>
          <pc:docMk/>
          <pc:sldMk cId="371844730" sldId="2146846398"/>
        </pc:sldMkLst>
        <pc:spChg chg="mod">
          <ac:chgData name="Md Fahim Hasan" userId="92968fce-d4dd-4b9e-8635-66a07c9f98a7" providerId="ADAL" clId="{3A6F4128-6482-4C75-8C7D-220A75826C22}" dt="2023-07-28T16:12:25.552" v="38225" actId="1076"/>
          <ac:spMkLst>
            <pc:docMk/>
            <pc:sldMk cId="371844730" sldId="2146846398"/>
            <ac:spMk id="2" creationId="{B0865CE3-FB3D-D767-F7F8-E149E6F708BA}"/>
          </ac:spMkLst>
        </pc:spChg>
        <pc:spChg chg="mod">
          <ac:chgData name="Md Fahim Hasan" userId="92968fce-d4dd-4b9e-8635-66a07c9f98a7" providerId="ADAL" clId="{3A6F4128-6482-4C75-8C7D-220A75826C22}" dt="2023-07-27T15:51:58.279" v="35706"/>
          <ac:spMkLst>
            <pc:docMk/>
            <pc:sldMk cId="371844730" sldId="2146846398"/>
            <ac:spMk id="3" creationId="{8F971888-5CED-2514-FB79-CEC0AE9C973D}"/>
          </ac:spMkLst>
        </pc:spChg>
        <pc:spChg chg="add mod">
          <ac:chgData name="Md Fahim Hasan" userId="92968fce-d4dd-4b9e-8635-66a07c9f98a7" providerId="ADAL" clId="{3A6F4128-6482-4C75-8C7D-220A75826C22}" dt="2023-07-28T16:13:39.796" v="38252" actId="20577"/>
          <ac:spMkLst>
            <pc:docMk/>
            <pc:sldMk cId="371844730" sldId="2146846398"/>
            <ac:spMk id="4" creationId="{83BCD419-89C7-9F7E-2906-52E2ED81E12F}"/>
          </ac:spMkLst>
        </pc:spChg>
        <pc:spChg chg="add del mod">
          <ac:chgData name="Md Fahim Hasan" userId="92968fce-d4dd-4b9e-8635-66a07c9f98a7" providerId="ADAL" clId="{3A6F4128-6482-4C75-8C7D-220A75826C22}" dt="2023-07-20T14:32:30.526" v="7884" actId="21"/>
          <ac:spMkLst>
            <pc:docMk/>
            <pc:sldMk cId="371844730" sldId="2146846398"/>
            <ac:spMk id="7" creationId="{C1556E6B-31E4-A913-D61C-0DCB77CE068F}"/>
          </ac:spMkLst>
        </pc:spChg>
        <pc:spChg chg="mod">
          <ac:chgData name="Md Fahim Hasan" userId="92968fce-d4dd-4b9e-8635-66a07c9f98a7" providerId="ADAL" clId="{3A6F4128-6482-4C75-8C7D-220A75826C22}" dt="2023-07-20T18:21:42.211" v="9410" actId="6549"/>
          <ac:spMkLst>
            <pc:docMk/>
            <pc:sldMk cId="371844730" sldId="2146846398"/>
            <ac:spMk id="9" creationId="{DCE765C9-F866-A10C-05BC-B0F5CF7D4FA9}"/>
          </ac:spMkLst>
        </pc:spChg>
        <pc:spChg chg="del">
          <ac:chgData name="Md Fahim Hasan" userId="92968fce-d4dd-4b9e-8635-66a07c9f98a7" providerId="ADAL" clId="{3A6F4128-6482-4C75-8C7D-220A75826C22}" dt="2023-07-18T19:51:13.116" v="5658" actId="478"/>
          <ac:spMkLst>
            <pc:docMk/>
            <pc:sldMk cId="371844730" sldId="2146846398"/>
            <ac:spMk id="10" creationId="{DDD763E9-CE6D-7E6C-735D-E01DF9793F16}"/>
          </ac:spMkLst>
        </pc:spChg>
        <pc:spChg chg="del">
          <ac:chgData name="Md Fahim Hasan" userId="92968fce-d4dd-4b9e-8635-66a07c9f98a7" providerId="ADAL" clId="{3A6F4128-6482-4C75-8C7D-220A75826C22}" dt="2023-07-18T19:51:15.970" v="5661" actId="478"/>
          <ac:spMkLst>
            <pc:docMk/>
            <pc:sldMk cId="371844730" sldId="2146846398"/>
            <ac:spMk id="20" creationId="{040BCA99-2FFF-618A-ADD3-A00006589972}"/>
          </ac:spMkLst>
        </pc:spChg>
        <pc:spChg chg="del">
          <ac:chgData name="Md Fahim Hasan" userId="92968fce-d4dd-4b9e-8635-66a07c9f98a7" providerId="ADAL" clId="{3A6F4128-6482-4C75-8C7D-220A75826C22}" dt="2023-07-18T19:51:17.304" v="5662" actId="478"/>
          <ac:spMkLst>
            <pc:docMk/>
            <pc:sldMk cId="371844730" sldId="2146846398"/>
            <ac:spMk id="21" creationId="{98121FFD-BBA3-C6B1-9D6D-86E506BF8E8B}"/>
          </ac:spMkLst>
        </pc:spChg>
        <pc:picChg chg="del">
          <ac:chgData name="Md Fahim Hasan" userId="92968fce-d4dd-4b9e-8635-66a07c9f98a7" providerId="ADAL" clId="{3A6F4128-6482-4C75-8C7D-220A75826C22}" dt="2023-07-18T19:51:14.483" v="5660" actId="478"/>
          <ac:picMkLst>
            <pc:docMk/>
            <pc:sldMk cId="371844730" sldId="2146846398"/>
            <ac:picMk id="3" creationId="{72FDB37B-E1DB-C812-CAB0-7BE1829D147F}"/>
          </ac:picMkLst>
        </pc:picChg>
        <pc:picChg chg="add mod">
          <ac:chgData name="Md Fahim Hasan" userId="92968fce-d4dd-4b9e-8635-66a07c9f98a7" providerId="ADAL" clId="{3A6F4128-6482-4C75-8C7D-220A75826C22}" dt="2023-07-28T16:12:28.742" v="38226" actId="1076"/>
          <ac:picMkLst>
            <pc:docMk/>
            <pc:sldMk cId="371844730" sldId="2146846398"/>
            <ac:picMk id="5" creationId="{FDC010C9-2B4A-259D-24E8-5E49354DD997}"/>
          </ac:picMkLst>
        </pc:picChg>
        <pc:picChg chg="del">
          <ac:chgData name="Md Fahim Hasan" userId="92968fce-d4dd-4b9e-8635-66a07c9f98a7" providerId="ADAL" clId="{3A6F4128-6482-4C75-8C7D-220A75826C22}" dt="2023-07-18T19:51:13.950" v="5659" actId="478"/>
          <ac:picMkLst>
            <pc:docMk/>
            <pc:sldMk cId="371844730" sldId="2146846398"/>
            <ac:picMk id="6" creationId="{B09638A6-6111-A6EC-914F-C98B17862DE6}"/>
          </ac:picMkLst>
        </pc:picChg>
      </pc:sldChg>
      <pc:sldChg chg="addSp delSp modSp add mod ord delAnim modCm">
        <pc:chgData name="Md Fahim Hasan" userId="92968fce-d4dd-4b9e-8635-66a07c9f98a7" providerId="ADAL" clId="{3A6F4128-6482-4C75-8C7D-220A75826C22}" dt="2023-07-27T15:51:58.279" v="35706"/>
        <pc:sldMkLst>
          <pc:docMk/>
          <pc:sldMk cId="1519544032" sldId="2146846399"/>
        </pc:sldMkLst>
        <pc:spChg chg="mod">
          <ac:chgData name="Md Fahim Hasan" userId="92968fce-d4dd-4b9e-8635-66a07c9f98a7" providerId="ADAL" clId="{3A6F4128-6482-4C75-8C7D-220A75826C22}" dt="2023-07-27T15:51:58.279" v="35706"/>
          <ac:spMkLst>
            <pc:docMk/>
            <pc:sldMk cId="1519544032" sldId="2146846399"/>
            <ac:spMk id="2" creationId="{04FB52FD-279C-3A62-1E73-A9CC0CA096CD}"/>
          </ac:spMkLst>
        </pc:spChg>
        <pc:spChg chg="del">
          <ac:chgData name="Md Fahim Hasan" userId="92968fce-d4dd-4b9e-8635-66a07c9f98a7" providerId="ADAL" clId="{3A6F4128-6482-4C75-8C7D-220A75826C22}" dt="2023-07-18T20:08:09.198" v="6071" actId="478"/>
          <ac:spMkLst>
            <pc:docMk/>
            <pc:sldMk cId="1519544032" sldId="2146846399"/>
            <ac:spMk id="2" creationId="{B0865CE3-FB3D-D767-F7F8-E149E6F708BA}"/>
          </ac:spMkLst>
        </pc:spChg>
        <pc:spChg chg="add del mod">
          <ac:chgData name="Md Fahim Hasan" userId="92968fce-d4dd-4b9e-8635-66a07c9f98a7" providerId="ADAL" clId="{3A6F4128-6482-4C75-8C7D-220A75826C22}" dt="2023-07-20T19:14:36.231" v="9651" actId="478"/>
          <ac:spMkLst>
            <pc:docMk/>
            <pc:sldMk cId="1519544032" sldId="2146846399"/>
            <ac:spMk id="2" creationId="{B99F8DB8-D682-0A2F-3CF3-5675D3813CBB}"/>
          </ac:spMkLst>
        </pc:spChg>
        <pc:spChg chg="add mod">
          <ac:chgData name="Md Fahim Hasan" userId="92968fce-d4dd-4b9e-8635-66a07c9f98a7" providerId="ADAL" clId="{3A6F4128-6482-4C75-8C7D-220A75826C22}" dt="2023-07-20T19:56:28.462" v="9993" actId="20577"/>
          <ac:spMkLst>
            <pc:docMk/>
            <pc:sldMk cId="1519544032" sldId="2146846399"/>
            <ac:spMk id="4" creationId="{E2FFE966-41BB-FE13-4FE7-E23C85432A77}"/>
          </ac:spMkLst>
        </pc:spChg>
        <pc:spChg chg="del">
          <ac:chgData name="Md Fahim Hasan" userId="92968fce-d4dd-4b9e-8635-66a07c9f98a7" providerId="ADAL" clId="{3A6F4128-6482-4C75-8C7D-220A75826C22}" dt="2023-07-18T20:08:11.582" v="6073" actId="478"/>
          <ac:spMkLst>
            <pc:docMk/>
            <pc:sldMk cId="1519544032" sldId="2146846399"/>
            <ac:spMk id="7" creationId="{C1556E6B-31E4-A913-D61C-0DCB77CE068F}"/>
          </ac:spMkLst>
        </pc:spChg>
        <pc:spChg chg="mod">
          <ac:chgData name="Md Fahim Hasan" userId="92968fce-d4dd-4b9e-8635-66a07c9f98a7" providerId="ADAL" clId="{3A6F4128-6482-4C75-8C7D-220A75826C22}" dt="2023-07-21T17:45:46.966" v="11349" actId="20577"/>
          <ac:spMkLst>
            <pc:docMk/>
            <pc:sldMk cId="1519544032" sldId="2146846399"/>
            <ac:spMk id="9" creationId="{DCE765C9-F866-A10C-05BC-B0F5CF7D4FA9}"/>
          </ac:spMkLst>
        </pc:spChg>
        <pc:graphicFrameChg chg="add mod modGraphic">
          <ac:chgData name="Md Fahim Hasan" userId="92968fce-d4dd-4b9e-8635-66a07c9f98a7" providerId="ADAL" clId="{3A6F4128-6482-4C75-8C7D-220A75826C22}" dt="2023-07-24T16:19:04.599" v="15022" actId="20577"/>
          <ac:graphicFrameMkLst>
            <pc:docMk/>
            <pc:sldMk cId="1519544032" sldId="2146846399"/>
            <ac:graphicFrameMk id="3" creationId="{2F7E60F5-2651-E457-BA6A-2FB22CF29CDA}"/>
          </ac:graphicFrameMkLst>
        </pc:graphicFrameChg>
        <pc:picChg chg="del">
          <ac:chgData name="Md Fahim Hasan" userId="92968fce-d4dd-4b9e-8635-66a07c9f98a7" providerId="ADAL" clId="{3A6F4128-6482-4C75-8C7D-220A75826C22}" dt="2023-07-18T20:08:09.894" v="6072" actId="478"/>
          <ac:picMkLst>
            <pc:docMk/>
            <pc:sldMk cId="1519544032" sldId="2146846399"/>
            <ac:picMk id="5" creationId="{FDC010C9-2B4A-259D-24E8-5E49354DD997}"/>
          </ac:picMkLst>
        </pc:picChg>
      </pc:sldChg>
      <pc:sldChg chg="addSp delSp modSp add del mod delAnim modAnim">
        <pc:chgData name="Md Fahim Hasan" userId="92968fce-d4dd-4b9e-8635-66a07c9f98a7" providerId="ADAL" clId="{3A6F4128-6482-4C75-8C7D-220A75826C22}" dt="2023-07-21T23:20:55.941" v="14061" actId="2696"/>
        <pc:sldMkLst>
          <pc:docMk/>
          <pc:sldMk cId="271316830" sldId="2146846400"/>
        </pc:sldMkLst>
        <pc:spChg chg="del">
          <ac:chgData name="Md Fahim Hasan" userId="92968fce-d4dd-4b9e-8635-66a07c9f98a7" providerId="ADAL" clId="{3A6F4128-6482-4C75-8C7D-220A75826C22}" dt="2023-07-18T23:06:51.437" v="6891" actId="478"/>
          <ac:spMkLst>
            <pc:docMk/>
            <pc:sldMk cId="271316830" sldId="2146846400"/>
            <ac:spMk id="2" creationId="{B0865CE3-FB3D-D767-F7F8-E149E6F708BA}"/>
          </ac:spMkLst>
        </pc:spChg>
        <pc:spChg chg="add del mod">
          <ac:chgData name="Md Fahim Hasan" userId="92968fce-d4dd-4b9e-8635-66a07c9f98a7" providerId="ADAL" clId="{3A6F4128-6482-4C75-8C7D-220A75826C22}" dt="2023-07-20T14:27:07.077" v="7751" actId="478"/>
          <ac:spMkLst>
            <pc:docMk/>
            <pc:sldMk cId="271316830" sldId="2146846400"/>
            <ac:spMk id="5" creationId="{4F1C69C7-473D-57DA-412A-0612D6374240}"/>
          </ac:spMkLst>
        </pc:spChg>
        <pc:spChg chg="add del mod">
          <ac:chgData name="Md Fahim Hasan" userId="92968fce-d4dd-4b9e-8635-66a07c9f98a7" providerId="ADAL" clId="{3A6F4128-6482-4C75-8C7D-220A75826C22}" dt="2023-07-20T14:13:36.662" v="7453" actId="478"/>
          <ac:spMkLst>
            <pc:docMk/>
            <pc:sldMk cId="271316830" sldId="2146846400"/>
            <ac:spMk id="6" creationId="{54D1C705-D6B0-6FBC-FC56-28CB14C5E4D7}"/>
          </ac:spMkLst>
        </pc:spChg>
        <pc:spChg chg="del mod">
          <ac:chgData name="Md Fahim Hasan" userId="92968fce-d4dd-4b9e-8635-66a07c9f98a7" providerId="ADAL" clId="{3A6F4128-6482-4C75-8C7D-220A75826C22}" dt="2023-07-21T17:43:49.717" v="11336" actId="478"/>
          <ac:spMkLst>
            <pc:docMk/>
            <pc:sldMk cId="271316830" sldId="2146846400"/>
            <ac:spMk id="7" creationId="{C1556E6B-31E4-A913-D61C-0DCB77CE068F}"/>
          </ac:spMkLst>
        </pc:spChg>
        <pc:spChg chg="add del mod">
          <ac:chgData name="Md Fahim Hasan" userId="92968fce-d4dd-4b9e-8635-66a07c9f98a7" providerId="ADAL" clId="{3A6F4128-6482-4C75-8C7D-220A75826C22}" dt="2023-07-20T14:26:36.026" v="7744" actId="478"/>
          <ac:spMkLst>
            <pc:docMk/>
            <pc:sldMk cId="271316830" sldId="2146846400"/>
            <ac:spMk id="8" creationId="{5146555C-4CEE-7B93-198D-FECB1EA9BBA4}"/>
          </ac:spMkLst>
        </pc:spChg>
        <pc:spChg chg="mod">
          <ac:chgData name="Md Fahim Hasan" userId="92968fce-d4dd-4b9e-8635-66a07c9f98a7" providerId="ADAL" clId="{3A6F4128-6482-4C75-8C7D-220A75826C22}" dt="2023-07-20T18:21:25.040" v="9407" actId="20577"/>
          <ac:spMkLst>
            <pc:docMk/>
            <pc:sldMk cId="271316830" sldId="2146846400"/>
            <ac:spMk id="9" creationId="{DCE765C9-F866-A10C-05BC-B0F5CF7D4FA9}"/>
          </ac:spMkLst>
        </pc:spChg>
        <pc:spChg chg="add mod">
          <ac:chgData name="Md Fahim Hasan" userId="92968fce-d4dd-4b9e-8635-66a07c9f98a7" providerId="ADAL" clId="{3A6F4128-6482-4C75-8C7D-220A75826C22}" dt="2023-07-20T14:28:04.162" v="7764" actId="14100"/>
          <ac:spMkLst>
            <pc:docMk/>
            <pc:sldMk cId="271316830" sldId="2146846400"/>
            <ac:spMk id="10" creationId="{857B749E-6732-0406-D2BE-7CDBCA431B79}"/>
          </ac:spMkLst>
        </pc:spChg>
        <pc:spChg chg="add del mod">
          <ac:chgData name="Md Fahim Hasan" userId="92968fce-d4dd-4b9e-8635-66a07c9f98a7" providerId="ADAL" clId="{3A6F4128-6482-4C75-8C7D-220A75826C22}" dt="2023-07-20T14:24:23.763" v="7677" actId="478"/>
          <ac:spMkLst>
            <pc:docMk/>
            <pc:sldMk cId="271316830" sldId="2146846400"/>
            <ac:spMk id="11" creationId="{B9A26211-B731-3512-B554-08B30A48DA90}"/>
          </ac:spMkLst>
        </pc:spChg>
        <pc:spChg chg="add del mod">
          <ac:chgData name="Md Fahim Hasan" userId="92968fce-d4dd-4b9e-8635-66a07c9f98a7" providerId="ADAL" clId="{3A6F4128-6482-4C75-8C7D-220A75826C22}" dt="2023-07-20T14:24:24.679" v="7678" actId="478"/>
          <ac:spMkLst>
            <pc:docMk/>
            <pc:sldMk cId="271316830" sldId="2146846400"/>
            <ac:spMk id="12" creationId="{51A23460-F7D5-67DA-C877-747FFE09B421}"/>
          </ac:spMkLst>
        </pc:spChg>
        <pc:spChg chg="add mod">
          <ac:chgData name="Md Fahim Hasan" userId="92968fce-d4dd-4b9e-8635-66a07c9f98a7" providerId="ADAL" clId="{3A6F4128-6482-4C75-8C7D-220A75826C22}" dt="2023-07-20T14:29:26.347" v="7834" actId="207"/>
          <ac:spMkLst>
            <pc:docMk/>
            <pc:sldMk cId="271316830" sldId="2146846400"/>
            <ac:spMk id="13" creationId="{0DBAA058-1504-E777-7B09-F0DFF0A0CF99}"/>
          </ac:spMkLst>
        </pc:spChg>
        <pc:spChg chg="add del mod">
          <ac:chgData name="Md Fahim Hasan" userId="92968fce-d4dd-4b9e-8635-66a07c9f98a7" providerId="ADAL" clId="{3A6F4128-6482-4C75-8C7D-220A75826C22}" dt="2023-07-20T14:28:17.951" v="7768" actId="478"/>
          <ac:spMkLst>
            <pc:docMk/>
            <pc:sldMk cId="271316830" sldId="2146846400"/>
            <ac:spMk id="14" creationId="{93B6C613-425C-8479-420E-867126594115}"/>
          </ac:spMkLst>
        </pc:spChg>
        <pc:spChg chg="add del mod">
          <ac:chgData name="Md Fahim Hasan" userId="92968fce-d4dd-4b9e-8635-66a07c9f98a7" providerId="ADAL" clId="{3A6F4128-6482-4C75-8C7D-220A75826C22}" dt="2023-07-20T14:28:19.285" v="7769" actId="478"/>
          <ac:spMkLst>
            <pc:docMk/>
            <pc:sldMk cId="271316830" sldId="2146846400"/>
            <ac:spMk id="15" creationId="{ED41E28C-52D7-F3BC-C218-86DA284CE29A}"/>
          </ac:spMkLst>
        </pc:spChg>
        <pc:spChg chg="add del mod">
          <ac:chgData name="Md Fahim Hasan" userId="92968fce-d4dd-4b9e-8635-66a07c9f98a7" providerId="ADAL" clId="{3A6F4128-6482-4C75-8C7D-220A75826C22}" dt="2023-07-20T14:28:20.572" v="7770" actId="478"/>
          <ac:spMkLst>
            <pc:docMk/>
            <pc:sldMk cId="271316830" sldId="2146846400"/>
            <ac:spMk id="16" creationId="{B8F89D8D-DEAA-5D04-9F73-FE3223DB5427}"/>
          </ac:spMkLst>
        </pc:spChg>
        <pc:spChg chg="add del mod">
          <ac:chgData name="Md Fahim Hasan" userId="92968fce-d4dd-4b9e-8635-66a07c9f98a7" providerId="ADAL" clId="{3A6F4128-6482-4C75-8C7D-220A75826C22}" dt="2023-07-20T14:28:25.300" v="7771" actId="478"/>
          <ac:spMkLst>
            <pc:docMk/>
            <pc:sldMk cId="271316830" sldId="2146846400"/>
            <ac:spMk id="17" creationId="{6A7E37CE-6275-B8A8-B74B-66264BBD1352}"/>
          </ac:spMkLst>
        </pc:spChg>
        <pc:spChg chg="add mod">
          <ac:chgData name="Md Fahim Hasan" userId="92968fce-d4dd-4b9e-8635-66a07c9f98a7" providerId="ADAL" clId="{3A6F4128-6482-4C75-8C7D-220A75826C22}" dt="2023-07-20T14:30:44.899" v="7842" actId="208"/>
          <ac:spMkLst>
            <pc:docMk/>
            <pc:sldMk cId="271316830" sldId="2146846400"/>
            <ac:spMk id="18" creationId="{7C4723AC-A666-87C9-CF2E-8AEFBF9A9098}"/>
          </ac:spMkLst>
        </pc:spChg>
        <pc:spChg chg="add mod">
          <ac:chgData name="Md Fahim Hasan" userId="92968fce-d4dd-4b9e-8635-66a07c9f98a7" providerId="ADAL" clId="{3A6F4128-6482-4C75-8C7D-220A75826C22}" dt="2023-07-20T14:28:31.039" v="7773" actId="1076"/>
          <ac:spMkLst>
            <pc:docMk/>
            <pc:sldMk cId="271316830" sldId="2146846400"/>
            <ac:spMk id="19" creationId="{F5E98535-C369-7EFF-A731-20DBAFF5BD2C}"/>
          </ac:spMkLst>
        </pc:spChg>
        <pc:spChg chg="add mod">
          <ac:chgData name="Md Fahim Hasan" userId="92968fce-d4dd-4b9e-8635-66a07c9f98a7" providerId="ADAL" clId="{3A6F4128-6482-4C75-8C7D-220A75826C22}" dt="2023-07-20T14:28:42.509" v="7792" actId="20577"/>
          <ac:spMkLst>
            <pc:docMk/>
            <pc:sldMk cId="271316830" sldId="2146846400"/>
            <ac:spMk id="20" creationId="{1DE051DC-3F4E-DFDD-A032-C1B0BB72BF6D}"/>
          </ac:spMkLst>
        </pc:spChg>
        <pc:spChg chg="add mod">
          <ac:chgData name="Md Fahim Hasan" userId="92968fce-d4dd-4b9e-8635-66a07c9f98a7" providerId="ADAL" clId="{3A6F4128-6482-4C75-8C7D-220A75826C22}" dt="2023-07-20T14:28:48.562" v="7794" actId="1076"/>
          <ac:spMkLst>
            <pc:docMk/>
            <pc:sldMk cId="271316830" sldId="2146846400"/>
            <ac:spMk id="21" creationId="{50793ED0-B4CD-50DB-3B4A-57FCDEB52756}"/>
          </ac:spMkLst>
        </pc:spChg>
        <pc:spChg chg="add mod">
          <ac:chgData name="Md Fahim Hasan" userId="92968fce-d4dd-4b9e-8635-66a07c9f98a7" providerId="ADAL" clId="{3A6F4128-6482-4C75-8C7D-220A75826C22}" dt="2023-07-20T14:29:29.066" v="7835" actId="207"/>
          <ac:spMkLst>
            <pc:docMk/>
            <pc:sldMk cId="271316830" sldId="2146846400"/>
            <ac:spMk id="22" creationId="{EB753DD7-438C-13DC-C408-3AF0BD2E70E9}"/>
          </ac:spMkLst>
        </pc:spChg>
        <pc:picChg chg="add mod">
          <ac:chgData name="Md Fahim Hasan" userId="92968fce-d4dd-4b9e-8635-66a07c9f98a7" providerId="ADAL" clId="{3A6F4128-6482-4C75-8C7D-220A75826C22}" dt="2023-07-21T17:43:41.582" v="11335" actId="1076"/>
          <ac:picMkLst>
            <pc:docMk/>
            <pc:sldMk cId="271316830" sldId="2146846400"/>
            <ac:picMk id="3" creationId="{16BBEA49-B7C7-2619-44DA-70CDEE7990C0}"/>
          </ac:picMkLst>
        </pc:picChg>
        <pc:picChg chg="add del mod">
          <ac:chgData name="Md Fahim Hasan" userId="92968fce-d4dd-4b9e-8635-66a07c9f98a7" providerId="ADAL" clId="{3A6F4128-6482-4C75-8C7D-220A75826C22}" dt="2023-07-20T14:26:36.930" v="7745" actId="478"/>
          <ac:picMkLst>
            <pc:docMk/>
            <pc:sldMk cId="271316830" sldId="2146846400"/>
            <ac:picMk id="4" creationId="{D17D41B0-E2D2-4413-CA5F-A3540EAD289B}"/>
          </ac:picMkLst>
        </pc:picChg>
        <pc:picChg chg="del">
          <ac:chgData name="Md Fahim Hasan" userId="92968fce-d4dd-4b9e-8635-66a07c9f98a7" providerId="ADAL" clId="{3A6F4128-6482-4C75-8C7D-220A75826C22}" dt="2023-07-18T23:06:49.920" v="6890" actId="478"/>
          <ac:picMkLst>
            <pc:docMk/>
            <pc:sldMk cId="271316830" sldId="2146846400"/>
            <ac:picMk id="5" creationId="{FDC010C9-2B4A-259D-24E8-5E49354DD997}"/>
          </ac:picMkLst>
        </pc:picChg>
      </pc:sldChg>
      <pc:sldChg chg="addSp delSp modSp add mod delAnim modAnim modNotesTx">
        <pc:chgData name="Md Fahim Hasan" userId="92968fce-d4dd-4b9e-8635-66a07c9f98a7" providerId="ADAL" clId="{3A6F4128-6482-4C75-8C7D-220A75826C22}" dt="2023-07-28T17:27:59.639" v="38914"/>
        <pc:sldMkLst>
          <pc:docMk/>
          <pc:sldMk cId="3321549302" sldId="2146846400"/>
        </pc:sldMkLst>
        <pc:spChg chg="mod">
          <ac:chgData name="Md Fahim Hasan" userId="92968fce-d4dd-4b9e-8635-66a07c9f98a7" providerId="ADAL" clId="{3A6F4128-6482-4C75-8C7D-220A75826C22}" dt="2023-07-27T15:51:58.279" v="35706"/>
          <ac:spMkLst>
            <pc:docMk/>
            <pc:sldMk cId="3321549302" sldId="2146846400"/>
            <ac:spMk id="2" creationId="{99AE1A04-85B3-C2B8-36C1-23AD8083AA4B}"/>
          </ac:spMkLst>
        </pc:spChg>
        <pc:spChg chg="add mod">
          <ac:chgData name="Md Fahim Hasan" userId="92968fce-d4dd-4b9e-8635-66a07c9f98a7" providerId="ADAL" clId="{3A6F4128-6482-4C75-8C7D-220A75826C22}" dt="2023-07-25T20:16:53.125" v="20330" actId="113"/>
          <ac:spMkLst>
            <pc:docMk/>
            <pc:sldMk cId="3321549302" sldId="2146846400"/>
            <ac:spMk id="4" creationId="{17BD92E2-3887-479A-D757-38D7889A9875}"/>
          </ac:spMkLst>
        </pc:spChg>
        <pc:spChg chg="add mod">
          <ac:chgData name="Md Fahim Hasan" userId="92968fce-d4dd-4b9e-8635-66a07c9f98a7" providerId="ADAL" clId="{3A6F4128-6482-4C75-8C7D-220A75826C22}" dt="2023-07-25T20:30:27.273" v="20601" actId="1076"/>
          <ac:spMkLst>
            <pc:docMk/>
            <pc:sldMk cId="3321549302" sldId="2146846400"/>
            <ac:spMk id="5" creationId="{73EDB022-E7F0-BF1B-16F2-320F277AA1C1}"/>
          </ac:spMkLst>
        </pc:spChg>
        <pc:spChg chg="add mod">
          <ac:chgData name="Md Fahim Hasan" userId="92968fce-d4dd-4b9e-8635-66a07c9f98a7" providerId="ADAL" clId="{3A6F4128-6482-4C75-8C7D-220A75826C22}" dt="2023-07-25T20:30:41.696" v="20604" actId="1076"/>
          <ac:spMkLst>
            <pc:docMk/>
            <pc:sldMk cId="3321549302" sldId="2146846400"/>
            <ac:spMk id="6" creationId="{A46D0C84-66EB-F51F-FE84-7D1A99507361}"/>
          </ac:spMkLst>
        </pc:spChg>
        <pc:spChg chg="add del mod">
          <ac:chgData name="Md Fahim Hasan" userId="92968fce-d4dd-4b9e-8635-66a07c9f98a7" providerId="ADAL" clId="{3A6F4128-6482-4C75-8C7D-220A75826C22}" dt="2023-07-25T20:29:31.054" v="20570" actId="478"/>
          <ac:spMkLst>
            <pc:docMk/>
            <pc:sldMk cId="3321549302" sldId="2146846400"/>
            <ac:spMk id="7" creationId="{12D5A89A-F556-C0F1-D104-9C0D4B9F636A}"/>
          </ac:spMkLst>
        </pc:spChg>
        <pc:spChg chg="add del mod">
          <ac:chgData name="Md Fahim Hasan" userId="92968fce-d4dd-4b9e-8635-66a07c9f98a7" providerId="ADAL" clId="{3A6F4128-6482-4C75-8C7D-220A75826C22}" dt="2023-07-25T20:29:31.054" v="20570" actId="478"/>
          <ac:spMkLst>
            <pc:docMk/>
            <pc:sldMk cId="3321549302" sldId="2146846400"/>
            <ac:spMk id="8" creationId="{F6090B6F-34F6-95C3-6AA9-148B0A820F36}"/>
          </ac:spMkLst>
        </pc:spChg>
        <pc:spChg chg="mod">
          <ac:chgData name="Md Fahim Hasan" userId="92968fce-d4dd-4b9e-8635-66a07c9f98a7" providerId="ADAL" clId="{3A6F4128-6482-4C75-8C7D-220A75826C22}" dt="2023-07-25T20:27:06.577" v="20517" actId="1076"/>
          <ac:spMkLst>
            <pc:docMk/>
            <pc:sldMk cId="3321549302" sldId="2146846400"/>
            <ac:spMk id="9" creationId="{DCE765C9-F866-A10C-05BC-B0F5CF7D4FA9}"/>
          </ac:spMkLst>
        </pc:spChg>
        <pc:spChg chg="add del mod">
          <ac:chgData name="Md Fahim Hasan" userId="92968fce-d4dd-4b9e-8635-66a07c9f98a7" providerId="ADAL" clId="{3A6F4128-6482-4C75-8C7D-220A75826C22}" dt="2023-07-25T20:29:56.285" v="20591" actId="478"/>
          <ac:spMkLst>
            <pc:docMk/>
            <pc:sldMk cId="3321549302" sldId="2146846400"/>
            <ac:spMk id="10" creationId="{6884CC07-8D2B-B1B2-A7F4-40EE2FEF70E2}"/>
          </ac:spMkLst>
        </pc:spChg>
        <pc:spChg chg="del">
          <ac:chgData name="Md Fahim Hasan" userId="92968fce-d4dd-4b9e-8635-66a07c9f98a7" providerId="ADAL" clId="{3A6F4128-6482-4C75-8C7D-220A75826C22}" dt="2023-07-21T23:22:27.417" v="14131" actId="478"/>
          <ac:spMkLst>
            <pc:docMk/>
            <pc:sldMk cId="3321549302" sldId="2146846400"/>
            <ac:spMk id="10" creationId="{857B749E-6732-0406-D2BE-7CDBCA431B79}"/>
          </ac:spMkLst>
        </pc:spChg>
        <pc:spChg chg="add mod">
          <ac:chgData name="Md Fahim Hasan" userId="92968fce-d4dd-4b9e-8635-66a07c9f98a7" providerId="ADAL" clId="{3A6F4128-6482-4C75-8C7D-220A75826C22}" dt="2023-07-25T20:30:32.063" v="20602" actId="1076"/>
          <ac:spMkLst>
            <pc:docMk/>
            <pc:sldMk cId="3321549302" sldId="2146846400"/>
            <ac:spMk id="11" creationId="{36E05499-4C8A-15E8-0646-ADD534019E9F}"/>
          </ac:spMkLst>
        </pc:spChg>
        <pc:spChg chg="add mod">
          <ac:chgData name="Md Fahim Hasan" userId="92968fce-d4dd-4b9e-8635-66a07c9f98a7" providerId="ADAL" clId="{3A6F4128-6482-4C75-8C7D-220A75826C22}" dt="2023-07-25T20:30:27.273" v="20601" actId="1076"/>
          <ac:spMkLst>
            <pc:docMk/>
            <pc:sldMk cId="3321549302" sldId="2146846400"/>
            <ac:spMk id="12" creationId="{1C873AA9-C6B7-789B-ADC9-4470D44A69F7}"/>
          </ac:spMkLst>
        </pc:spChg>
        <pc:spChg chg="del">
          <ac:chgData name="Md Fahim Hasan" userId="92968fce-d4dd-4b9e-8635-66a07c9f98a7" providerId="ADAL" clId="{3A6F4128-6482-4C75-8C7D-220A75826C22}" dt="2023-07-21T23:22:27.417" v="14131" actId="478"/>
          <ac:spMkLst>
            <pc:docMk/>
            <pc:sldMk cId="3321549302" sldId="2146846400"/>
            <ac:spMk id="13" creationId="{0DBAA058-1504-E777-7B09-F0DFF0A0CF99}"/>
          </ac:spMkLst>
        </pc:spChg>
        <pc:spChg chg="add mod">
          <ac:chgData name="Md Fahim Hasan" userId="92968fce-d4dd-4b9e-8635-66a07c9f98a7" providerId="ADAL" clId="{3A6F4128-6482-4C75-8C7D-220A75826C22}" dt="2023-07-26T22:49:50.516" v="30903" actId="20577"/>
          <ac:spMkLst>
            <pc:docMk/>
            <pc:sldMk cId="3321549302" sldId="2146846400"/>
            <ac:spMk id="13" creationId="{509B8E1A-BC5A-E524-8FE0-8FF1D3788A20}"/>
          </ac:spMkLst>
        </pc:spChg>
        <pc:spChg chg="add mod">
          <ac:chgData name="Md Fahim Hasan" userId="92968fce-d4dd-4b9e-8635-66a07c9f98a7" providerId="ADAL" clId="{3A6F4128-6482-4C75-8C7D-220A75826C22}" dt="2023-07-25T20:30:27.273" v="20601" actId="1076"/>
          <ac:spMkLst>
            <pc:docMk/>
            <pc:sldMk cId="3321549302" sldId="2146846400"/>
            <ac:spMk id="14" creationId="{04F280DF-BB48-313E-469D-0D1472F053FB}"/>
          </ac:spMkLst>
        </pc:spChg>
        <pc:spChg chg="del">
          <ac:chgData name="Md Fahim Hasan" userId="92968fce-d4dd-4b9e-8635-66a07c9f98a7" providerId="ADAL" clId="{3A6F4128-6482-4C75-8C7D-220A75826C22}" dt="2023-07-21T23:21:17.513" v="14063" actId="478"/>
          <ac:spMkLst>
            <pc:docMk/>
            <pc:sldMk cId="3321549302" sldId="2146846400"/>
            <ac:spMk id="18" creationId="{7C4723AC-A666-87C9-CF2E-8AEFBF9A9098}"/>
          </ac:spMkLst>
        </pc:spChg>
        <pc:spChg chg="del">
          <ac:chgData name="Md Fahim Hasan" userId="92968fce-d4dd-4b9e-8635-66a07c9f98a7" providerId="ADAL" clId="{3A6F4128-6482-4C75-8C7D-220A75826C22}" dt="2023-07-21T23:22:27.417" v="14131" actId="478"/>
          <ac:spMkLst>
            <pc:docMk/>
            <pc:sldMk cId="3321549302" sldId="2146846400"/>
            <ac:spMk id="19" creationId="{F5E98535-C369-7EFF-A731-20DBAFF5BD2C}"/>
          </ac:spMkLst>
        </pc:spChg>
        <pc:spChg chg="del">
          <ac:chgData name="Md Fahim Hasan" userId="92968fce-d4dd-4b9e-8635-66a07c9f98a7" providerId="ADAL" clId="{3A6F4128-6482-4C75-8C7D-220A75826C22}" dt="2023-07-21T23:22:27.417" v="14131" actId="478"/>
          <ac:spMkLst>
            <pc:docMk/>
            <pc:sldMk cId="3321549302" sldId="2146846400"/>
            <ac:spMk id="20" creationId="{1DE051DC-3F4E-DFDD-A032-C1B0BB72BF6D}"/>
          </ac:spMkLst>
        </pc:spChg>
        <pc:spChg chg="del">
          <ac:chgData name="Md Fahim Hasan" userId="92968fce-d4dd-4b9e-8635-66a07c9f98a7" providerId="ADAL" clId="{3A6F4128-6482-4C75-8C7D-220A75826C22}" dt="2023-07-21T23:22:27.417" v="14131" actId="478"/>
          <ac:spMkLst>
            <pc:docMk/>
            <pc:sldMk cId="3321549302" sldId="2146846400"/>
            <ac:spMk id="21" creationId="{50793ED0-B4CD-50DB-3B4A-57FCDEB52756}"/>
          </ac:spMkLst>
        </pc:spChg>
        <pc:spChg chg="del">
          <ac:chgData name="Md Fahim Hasan" userId="92968fce-d4dd-4b9e-8635-66a07c9f98a7" providerId="ADAL" clId="{3A6F4128-6482-4C75-8C7D-220A75826C22}" dt="2023-07-21T23:22:27.417" v="14131" actId="478"/>
          <ac:spMkLst>
            <pc:docMk/>
            <pc:sldMk cId="3321549302" sldId="2146846400"/>
            <ac:spMk id="22" creationId="{EB753DD7-438C-13DC-C408-3AF0BD2E70E9}"/>
          </ac:spMkLst>
        </pc:spChg>
        <pc:picChg chg="mod">
          <ac:chgData name="Md Fahim Hasan" userId="92968fce-d4dd-4b9e-8635-66a07c9f98a7" providerId="ADAL" clId="{3A6F4128-6482-4C75-8C7D-220A75826C22}" dt="2023-07-25T20:12:36.902" v="20188" actId="1076"/>
          <ac:picMkLst>
            <pc:docMk/>
            <pc:sldMk cId="3321549302" sldId="2146846400"/>
            <ac:picMk id="3" creationId="{16BBEA49-B7C7-2619-44DA-70CDEE7990C0}"/>
          </ac:picMkLst>
        </pc:picChg>
      </pc:sldChg>
      <pc:sldChg chg="addSp delSp modSp add mod ord delAnim modAnim modNotesTx">
        <pc:chgData name="Md Fahim Hasan" userId="92968fce-d4dd-4b9e-8635-66a07c9f98a7" providerId="ADAL" clId="{3A6F4128-6482-4C75-8C7D-220A75826C22}" dt="2023-07-28T17:35:45.630" v="39056"/>
        <pc:sldMkLst>
          <pc:docMk/>
          <pc:sldMk cId="3126584536" sldId="2146846401"/>
        </pc:sldMkLst>
        <pc:spChg chg="add mod">
          <ac:chgData name="Md Fahim Hasan" userId="92968fce-d4dd-4b9e-8635-66a07c9f98a7" providerId="ADAL" clId="{3A6F4128-6482-4C75-8C7D-220A75826C22}" dt="2023-07-25T19:52:30.151" v="19696" actId="115"/>
          <ac:spMkLst>
            <pc:docMk/>
            <pc:sldMk cId="3126584536" sldId="2146846401"/>
            <ac:spMk id="2" creationId="{7954C781-6118-2324-A69A-96D5BF3A525F}"/>
          </ac:spMkLst>
        </pc:spChg>
        <pc:spChg chg="mod">
          <ac:chgData name="Md Fahim Hasan" userId="92968fce-d4dd-4b9e-8635-66a07c9f98a7" providerId="ADAL" clId="{3A6F4128-6482-4C75-8C7D-220A75826C22}" dt="2023-07-27T15:51:58.279" v="35706"/>
          <ac:spMkLst>
            <pc:docMk/>
            <pc:sldMk cId="3126584536" sldId="2146846401"/>
            <ac:spMk id="3" creationId="{B32175AB-1DB3-5446-7E5C-A305118EF0B3}"/>
          </ac:spMkLst>
        </pc:spChg>
        <pc:spChg chg="add del mod">
          <ac:chgData name="Md Fahim Hasan" userId="92968fce-d4dd-4b9e-8635-66a07c9f98a7" providerId="ADAL" clId="{3A6F4128-6482-4C75-8C7D-220A75826C22}" dt="2023-07-19T21:38:07.759" v="7180" actId="478"/>
          <ac:spMkLst>
            <pc:docMk/>
            <pc:sldMk cId="3126584536" sldId="2146846401"/>
            <ac:spMk id="4" creationId="{DF588D1A-A961-959A-62C4-7167D22EFC7C}"/>
          </ac:spMkLst>
        </pc:spChg>
        <pc:spChg chg="add del mod">
          <ac:chgData name="Md Fahim Hasan" userId="92968fce-d4dd-4b9e-8635-66a07c9f98a7" providerId="ADAL" clId="{3A6F4128-6482-4C75-8C7D-220A75826C22}" dt="2023-07-26T15:59:23.427" v="21793" actId="478"/>
          <ac:spMkLst>
            <pc:docMk/>
            <pc:sldMk cId="3126584536" sldId="2146846401"/>
            <ac:spMk id="7" creationId="{50A387BB-ED9C-C806-2CC9-DBADF17B42A3}"/>
          </ac:spMkLst>
        </pc:spChg>
        <pc:spChg chg="add del mod">
          <ac:chgData name="Md Fahim Hasan" userId="92968fce-d4dd-4b9e-8635-66a07c9f98a7" providerId="ADAL" clId="{3A6F4128-6482-4C75-8C7D-220A75826C22}" dt="2023-07-21T23:05:58.861" v="14014" actId="478"/>
          <ac:spMkLst>
            <pc:docMk/>
            <pc:sldMk cId="3126584536" sldId="2146846401"/>
            <ac:spMk id="7" creationId="{B641E756-718B-0BB8-7309-6CDF315EBB46}"/>
          </ac:spMkLst>
        </pc:spChg>
        <pc:spChg chg="add mod">
          <ac:chgData name="Md Fahim Hasan" userId="92968fce-d4dd-4b9e-8635-66a07c9f98a7" providerId="ADAL" clId="{3A6F4128-6482-4C75-8C7D-220A75826C22}" dt="2023-07-27T19:42:01.734" v="37537" actId="1035"/>
          <ac:spMkLst>
            <pc:docMk/>
            <pc:sldMk cId="3126584536" sldId="2146846401"/>
            <ac:spMk id="7" creationId="{CD1C828C-05FF-C666-6546-DDD712665BB8}"/>
          </ac:spMkLst>
        </pc:spChg>
        <pc:spChg chg="add mod">
          <ac:chgData name="Md Fahim Hasan" userId="92968fce-d4dd-4b9e-8635-66a07c9f98a7" providerId="ADAL" clId="{3A6F4128-6482-4C75-8C7D-220A75826C22}" dt="2023-07-27T19:41:27.406" v="37529" actId="1035"/>
          <ac:spMkLst>
            <pc:docMk/>
            <pc:sldMk cId="3126584536" sldId="2146846401"/>
            <ac:spMk id="8" creationId="{BA7018AD-2932-AEE6-95A5-3ED2089ADA2B}"/>
          </ac:spMkLst>
        </pc:spChg>
        <pc:spChg chg="add del mod">
          <ac:chgData name="Md Fahim Hasan" userId="92968fce-d4dd-4b9e-8635-66a07c9f98a7" providerId="ADAL" clId="{3A6F4128-6482-4C75-8C7D-220A75826C22}" dt="2023-07-26T20:45:52.079" v="28800" actId="478"/>
          <ac:spMkLst>
            <pc:docMk/>
            <pc:sldMk cId="3126584536" sldId="2146846401"/>
            <ac:spMk id="8" creationId="{BCAD7BA6-0450-15B9-61C7-5E90DF990355}"/>
          </ac:spMkLst>
        </pc:spChg>
        <pc:spChg chg="mod">
          <ac:chgData name="Md Fahim Hasan" userId="92968fce-d4dd-4b9e-8635-66a07c9f98a7" providerId="ADAL" clId="{3A6F4128-6482-4C75-8C7D-220A75826C22}" dt="2023-07-21T23:05:51.282" v="14010" actId="20577"/>
          <ac:spMkLst>
            <pc:docMk/>
            <pc:sldMk cId="3126584536" sldId="2146846401"/>
            <ac:spMk id="9" creationId="{DCE765C9-F866-A10C-05BC-B0F5CF7D4FA9}"/>
          </ac:spMkLst>
        </pc:spChg>
        <pc:spChg chg="add del">
          <ac:chgData name="Md Fahim Hasan" userId="92968fce-d4dd-4b9e-8635-66a07c9f98a7" providerId="ADAL" clId="{3A6F4128-6482-4C75-8C7D-220A75826C22}" dt="2023-07-25T20:13:28.128" v="20190" actId="22"/>
          <ac:spMkLst>
            <pc:docMk/>
            <pc:sldMk cId="3126584536" sldId="2146846401"/>
            <ac:spMk id="10" creationId="{61F02AD0-CC62-0F74-19D4-E3BA3C17503F}"/>
          </ac:spMkLst>
        </pc:spChg>
        <pc:spChg chg="add mod">
          <ac:chgData name="Md Fahim Hasan" userId="92968fce-d4dd-4b9e-8635-66a07c9f98a7" providerId="ADAL" clId="{3A6F4128-6482-4C75-8C7D-220A75826C22}" dt="2023-07-26T22:49:22.494" v="30882" actId="20577"/>
          <ac:spMkLst>
            <pc:docMk/>
            <pc:sldMk cId="3126584536" sldId="2146846401"/>
            <ac:spMk id="10" creationId="{A5B8E978-F446-1F16-200D-8D12F70153EA}"/>
          </ac:spMkLst>
        </pc:spChg>
        <pc:spChg chg="del mod">
          <ac:chgData name="Md Fahim Hasan" userId="92968fce-d4dd-4b9e-8635-66a07c9f98a7" providerId="ADAL" clId="{3A6F4128-6482-4C75-8C7D-220A75826C22}" dt="2023-07-21T23:05:53.420" v="14011" actId="478"/>
          <ac:spMkLst>
            <pc:docMk/>
            <pc:sldMk cId="3126584536" sldId="2146846401"/>
            <ac:spMk id="10" creationId="{DDD763E9-CE6D-7E6C-735D-E01DF9793F16}"/>
          </ac:spMkLst>
        </pc:spChg>
        <pc:spChg chg="add del mod">
          <ac:chgData name="Md Fahim Hasan" userId="92968fce-d4dd-4b9e-8635-66a07c9f98a7" providerId="ADAL" clId="{3A6F4128-6482-4C75-8C7D-220A75826C22}" dt="2023-07-21T23:05:56.783" v="14012" actId="478"/>
          <ac:spMkLst>
            <pc:docMk/>
            <pc:sldMk cId="3126584536" sldId="2146846401"/>
            <ac:spMk id="11" creationId="{1E408B26-D81E-9B77-1C88-EEEC3785D485}"/>
          </ac:spMkLst>
        </pc:spChg>
        <pc:spChg chg="add mod">
          <ac:chgData name="Md Fahim Hasan" userId="92968fce-d4dd-4b9e-8635-66a07c9f98a7" providerId="ADAL" clId="{3A6F4128-6482-4C75-8C7D-220A75826C22}" dt="2023-07-26T22:49:25.535" v="30883" actId="20577"/>
          <ac:spMkLst>
            <pc:docMk/>
            <pc:sldMk cId="3126584536" sldId="2146846401"/>
            <ac:spMk id="11" creationId="{69746201-59CB-8400-E348-6986280E0725}"/>
          </ac:spMkLst>
        </pc:spChg>
        <pc:spChg chg="add del mod">
          <ac:chgData name="Md Fahim Hasan" userId="92968fce-d4dd-4b9e-8635-66a07c9f98a7" providerId="ADAL" clId="{3A6F4128-6482-4C75-8C7D-220A75826C22}" dt="2023-07-25T20:18:07.006" v="20382" actId="478"/>
          <ac:spMkLst>
            <pc:docMk/>
            <pc:sldMk cId="3126584536" sldId="2146846401"/>
            <ac:spMk id="12" creationId="{2776910D-2906-B233-BEA6-7EC77961D1C8}"/>
          </ac:spMkLst>
        </pc:spChg>
        <pc:spChg chg="add mod">
          <ac:chgData name="Md Fahim Hasan" userId="92968fce-d4dd-4b9e-8635-66a07c9f98a7" providerId="ADAL" clId="{3A6F4128-6482-4C75-8C7D-220A75826C22}" dt="2023-07-26T22:49:27.795" v="30884" actId="20577"/>
          <ac:spMkLst>
            <pc:docMk/>
            <pc:sldMk cId="3126584536" sldId="2146846401"/>
            <ac:spMk id="12" creationId="{D82C1762-FD2A-563D-6DD0-F3B46230EEC3}"/>
          </ac:spMkLst>
        </pc:spChg>
        <pc:spChg chg="add del mod">
          <ac:chgData name="Md Fahim Hasan" userId="92968fce-d4dd-4b9e-8635-66a07c9f98a7" providerId="ADAL" clId="{3A6F4128-6482-4C75-8C7D-220A75826C22}" dt="2023-07-21T23:05:56.783" v="14012" actId="478"/>
          <ac:spMkLst>
            <pc:docMk/>
            <pc:sldMk cId="3126584536" sldId="2146846401"/>
            <ac:spMk id="13" creationId="{741424E7-716E-A758-EA86-DD17483D72ED}"/>
          </ac:spMkLst>
        </pc:spChg>
        <pc:spChg chg="add del mod">
          <ac:chgData name="Md Fahim Hasan" userId="92968fce-d4dd-4b9e-8635-66a07c9f98a7" providerId="ADAL" clId="{3A6F4128-6482-4C75-8C7D-220A75826C22}" dt="2023-07-25T20:13:41.808" v="20196" actId="478"/>
          <ac:spMkLst>
            <pc:docMk/>
            <pc:sldMk cId="3126584536" sldId="2146846401"/>
            <ac:spMk id="13" creationId="{95A2B6F1-92AA-96C7-988C-5CA6672B3834}"/>
          </ac:spMkLst>
        </pc:spChg>
        <pc:spChg chg="add mod">
          <ac:chgData name="Md Fahim Hasan" userId="92968fce-d4dd-4b9e-8635-66a07c9f98a7" providerId="ADAL" clId="{3A6F4128-6482-4C75-8C7D-220A75826C22}" dt="2023-07-27T19:41:34.629" v="37533" actId="1035"/>
          <ac:spMkLst>
            <pc:docMk/>
            <pc:sldMk cId="3126584536" sldId="2146846401"/>
            <ac:spMk id="13" creationId="{C2D262AF-1027-98E0-3D1B-22BE8C68EC0C}"/>
          </ac:spMkLst>
        </pc:spChg>
        <pc:spChg chg="add del mod">
          <ac:chgData name="Md Fahim Hasan" userId="92968fce-d4dd-4b9e-8635-66a07c9f98a7" providerId="ADAL" clId="{3A6F4128-6482-4C75-8C7D-220A75826C22}" dt="2023-07-21T23:05:56.783" v="14012" actId="478"/>
          <ac:spMkLst>
            <pc:docMk/>
            <pc:sldMk cId="3126584536" sldId="2146846401"/>
            <ac:spMk id="15" creationId="{ADC2C1C1-916A-E593-BB80-10BC7114DD29}"/>
          </ac:spMkLst>
        </pc:spChg>
        <pc:spChg chg="add del mod">
          <ac:chgData name="Md Fahim Hasan" userId="92968fce-d4dd-4b9e-8635-66a07c9f98a7" providerId="ADAL" clId="{3A6F4128-6482-4C75-8C7D-220A75826C22}" dt="2023-07-21T23:05:56.783" v="14012" actId="478"/>
          <ac:spMkLst>
            <pc:docMk/>
            <pc:sldMk cId="3126584536" sldId="2146846401"/>
            <ac:spMk id="17" creationId="{471AA7B1-73DB-7CB8-74D1-D53FFC8BC5F9}"/>
          </ac:spMkLst>
        </pc:spChg>
        <pc:spChg chg="add del mod">
          <ac:chgData name="Md Fahim Hasan" userId="92968fce-d4dd-4b9e-8635-66a07c9f98a7" providerId="ADAL" clId="{3A6F4128-6482-4C75-8C7D-220A75826C22}" dt="2023-07-26T20:45:53.301" v="28801" actId="478"/>
          <ac:spMkLst>
            <pc:docMk/>
            <pc:sldMk cId="3126584536" sldId="2146846401"/>
            <ac:spMk id="18" creationId="{6AF38CD4-2303-5394-1C78-46179EF735EF}"/>
          </ac:spMkLst>
        </pc:spChg>
        <pc:spChg chg="add del mod">
          <ac:chgData name="Md Fahim Hasan" userId="92968fce-d4dd-4b9e-8635-66a07c9f98a7" providerId="ADAL" clId="{3A6F4128-6482-4C75-8C7D-220A75826C22}" dt="2023-07-26T20:45:50.463" v="28799" actId="478"/>
          <ac:spMkLst>
            <pc:docMk/>
            <pc:sldMk cId="3126584536" sldId="2146846401"/>
            <ac:spMk id="19" creationId="{0F7DDFE2-D5D5-A079-2A25-6631807717B7}"/>
          </ac:spMkLst>
        </pc:spChg>
        <pc:spChg chg="del">
          <ac:chgData name="Md Fahim Hasan" userId="92968fce-d4dd-4b9e-8635-66a07c9f98a7" providerId="ADAL" clId="{3A6F4128-6482-4C75-8C7D-220A75826C22}" dt="2023-07-19T21:34:24.128" v="7064" actId="478"/>
          <ac:spMkLst>
            <pc:docMk/>
            <pc:sldMk cId="3126584536" sldId="2146846401"/>
            <ac:spMk id="19" creationId="{688695E6-03F4-CEE4-56E6-1BA85F5F2FA3}"/>
          </ac:spMkLst>
        </pc:spChg>
        <pc:spChg chg="del mod">
          <ac:chgData name="Md Fahim Hasan" userId="92968fce-d4dd-4b9e-8635-66a07c9f98a7" providerId="ADAL" clId="{3A6F4128-6482-4C75-8C7D-220A75826C22}" dt="2023-07-21T23:05:56.783" v="14012" actId="478"/>
          <ac:spMkLst>
            <pc:docMk/>
            <pc:sldMk cId="3126584536" sldId="2146846401"/>
            <ac:spMk id="20" creationId="{040BCA99-2FFF-618A-ADD3-A00006589972}"/>
          </ac:spMkLst>
        </pc:spChg>
        <pc:spChg chg="del">
          <ac:chgData name="Md Fahim Hasan" userId="92968fce-d4dd-4b9e-8635-66a07c9f98a7" providerId="ADAL" clId="{3A6F4128-6482-4C75-8C7D-220A75826C22}" dt="2023-07-19T21:36:13.489" v="7161" actId="478"/>
          <ac:spMkLst>
            <pc:docMk/>
            <pc:sldMk cId="3126584536" sldId="2146846401"/>
            <ac:spMk id="21" creationId="{98121FFD-BBA3-C6B1-9D6D-86E506BF8E8B}"/>
          </ac:spMkLst>
        </pc:spChg>
        <pc:picChg chg="add del mod">
          <ac:chgData name="Md Fahim Hasan" userId="92968fce-d4dd-4b9e-8635-66a07c9f98a7" providerId="ADAL" clId="{3A6F4128-6482-4C75-8C7D-220A75826C22}" dt="2023-07-21T23:06:00.882" v="14017" actId="478"/>
          <ac:picMkLst>
            <pc:docMk/>
            <pc:sldMk cId="3126584536" sldId="2146846401"/>
            <ac:picMk id="2" creationId="{C4F21C2E-6869-30CB-DB14-9CB4794C171D}"/>
          </ac:picMkLst>
        </pc:picChg>
        <pc:picChg chg="del">
          <ac:chgData name="Md Fahim Hasan" userId="92968fce-d4dd-4b9e-8635-66a07c9f98a7" providerId="ADAL" clId="{3A6F4128-6482-4C75-8C7D-220A75826C22}" dt="2023-07-19T21:36:12.069" v="7160" actId="478"/>
          <ac:picMkLst>
            <pc:docMk/>
            <pc:sldMk cId="3126584536" sldId="2146846401"/>
            <ac:picMk id="3" creationId="{72FDB37B-E1DB-C812-CAB0-7BE1829D147F}"/>
          </ac:picMkLst>
        </pc:picChg>
        <pc:picChg chg="add mod">
          <ac:chgData name="Md Fahim Hasan" userId="92968fce-d4dd-4b9e-8635-66a07c9f98a7" providerId="ADAL" clId="{3A6F4128-6482-4C75-8C7D-220A75826C22}" dt="2023-07-26T23:33:00.256" v="30939" actId="14100"/>
          <ac:picMkLst>
            <pc:docMk/>
            <pc:sldMk cId="3126584536" sldId="2146846401"/>
            <ac:picMk id="4" creationId="{C0ED79BE-6CE6-7120-DA3B-2AD0866D8AC1}"/>
          </ac:picMkLst>
        </pc:picChg>
        <pc:picChg chg="add mod">
          <ac:chgData name="Md Fahim Hasan" userId="92968fce-d4dd-4b9e-8635-66a07c9f98a7" providerId="ADAL" clId="{3A6F4128-6482-4C75-8C7D-220A75826C22}" dt="2023-07-26T23:32:19.257" v="30935" actId="1076"/>
          <ac:picMkLst>
            <pc:docMk/>
            <pc:sldMk cId="3126584536" sldId="2146846401"/>
            <ac:picMk id="5" creationId="{56CC5859-96F2-5188-5BEE-E299DB03A43A}"/>
          </ac:picMkLst>
        </pc:picChg>
        <pc:picChg chg="add mod">
          <ac:chgData name="Md Fahim Hasan" userId="92968fce-d4dd-4b9e-8635-66a07c9f98a7" providerId="ADAL" clId="{3A6F4128-6482-4C75-8C7D-220A75826C22}" dt="2023-07-26T20:44:49.741" v="28790" actId="14826"/>
          <ac:picMkLst>
            <pc:docMk/>
            <pc:sldMk cId="3126584536" sldId="2146846401"/>
            <ac:picMk id="6" creationId="{7CF2DA5D-F5EB-25AB-490D-0B21CB7C30F2}"/>
          </ac:picMkLst>
        </pc:picChg>
        <pc:picChg chg="del mod">
          <ac:chgData name="Md Fahim Hasan" userId="92968fce-d4dd-4b9e-8635-66a07c9f98a7" providerId="ADAL" clId="{3A6F4128-6482-4C75-8C7D-220A75826C22}" dt="2023-07-19T21:47:21.015" v="7300" actId="478"/>
          <ac:picMkLst>
            <pc:docMk/>
            <pc:sldMk cId="3126584536" sldId="2146846401"/>
            <ac:picMk id="6" creationId="{B09638A6-6111-A6EC-914F-C98B17862DE6}"/>
          </ac:picMkLst>
        </pc:picChg>
        <pc:picChg chg="del">
          <ac:chgData name="Md Fahim Hasan" userId="92968fce-d4dd-4b9e-8635-66a07c9f98a7" providerId="ADAL" clId="{3A6F4128-6482-4C75-8C7D-220A75826C22}" dt="2023-07-19T21:34:22.309" v="7063" actId="478"/>
          <ac:picMkLst>
            <pc:docMk/>
            <pc:sldMk cId="3126584536" sldId="2146846401"/>
            <ac:picMk id="8" creationId="{1F7DC9F6-9984-9A8A-6C84-FC2CCC04B586}"/>
          </ac:picMkLst>
        </pc:picChg>
        <pc:picChg chg="add del mod">
          <ac:chgData name="Md Fahim Hasan" userId="92968fce-d4dd-4b9e-8635-66a07c9f98a7" providerId="ADAL" clId="{3A6F4128-6482-4C75-8C7D-220A75826C22}" dt="2023-07-21T23:05:56.783" v="14012" actId="478"/>
          <ac:picMkLst>
            <pc:docMk/>
            <pc:sldMk cId="3126584536" sldId="2146846401"/>
            <ac:picMk id="12" creationId="{85ADD9A6-CD7A-C653-544B-9C3419417AF2}"/>
          </ac:picMkLst>
        </pc:picChg>
        <pc:picChg chg="add del mod">
          <ac:chgData name="Md Fahim Hasan" userId="92968fce-d4dd-4b9e-8635-66a07c9f98a7" providerId="ADAL" clId="{3A6F4128-6482-4C75-8C7D-220A75826C22}" dt="2023-07-21T23:05:56.783" v="14012" actId="478"/>
          <ac:picMkLst>
            <pc:docMk/>
            <pc:sldMk cId="3126584536" sldId="2146846401"/>
            <ac:picMk id="14" creationId="{13C3F13F-F854-DEB8-9795-32B563C93F61}"/>
          </ac:picMkLst>
        </pc:picChg>
        <pc:picChg chg="add del mod">
          <ac:chgData name="Md Fahim Hasan" userId="92968fce-d4dd-4b9e-8635-66a07c9f98a7" providerId="ADAL" clId="{3A6F4128-6482-4C75-8C7D-220A75826C22}" dt="2023-07-21T23:05:56.783" v="14012" actId="478"/>
          <ac:picMkLst>
            <pc:docMk/>
            <pc:sldMk cId="3126584536" sldId="2146846401"/>
            <ac:picMk id="16" creationId="{BD2B7106-6C58-68BD-9780-79D3CE0C0B44}"/>
          </ac:picMkLst>
        </pc:picChg>
        <pc:picChg chg="add del mod">
          <ac:chgData name="Md Fahim Hasan" userId="92968fce-d4dd-4b9e-8635-66a07c9f98a7" providerId="ADAL" clId="{3A6F4128-6482-4C75-8C7D-220A75826C22}" dt="2023-07-21T23:06:00.441" v="14016" actId="478"/>
          <ac:picMkLst>
            <pc:docMk/>
            <pc:sldMk cId="3126584536" sldId="2146846401"/>
            <ac:picMk id="23" creationId="{2E82135A-B0F3-5B97-131F-16F643ACC49B}"/>
          </ac:picMkLst>
        </pc:picChg>
        <pc:cxnChg chg="add del mod">
          <ac:chgData name="Md Fahim Hasan" userId="92968fce-d4dd-4b9e-8635-66a07c9f98a7" providerId="ADAL" clId="{3A6F4128-6482-4C75-8C7D-220A75826C22}" dt="2023-07-21T23:05:59.851" v="14015" actId="478"/>
          <ac:cxnSpMkLst>
            <pc:docMk/>
            <pc:sldMk cId="3126584536" sldId="2146846401"/>
            <ac:cxnSpMk id="22" creationId="{1B0827BE-D4E1-47BF-4839-35FC96A07406}"/>
          </ac:cxnSpMkLst>
        </pc:cxnChg>
        <pc:cxnChg chg="del mod">
          <ac:chgData name="Md Fahim Hasan" userId="92968fce-d4dd-4b9e-8635-66a07c9f98a7" providerId="ADAL" clId="{3A6F4128-6482-4C75-8C7D-220A75826C22}" dt="2023-07-19T21:37:02.706" v="7168" actId="478"/>
          <ac:cxnSpMkLst>
            <pc:docMk/>
            <pc:sldMk cId="3126584536" sldId="2146846401"/>
            <ac:cxnSpMk id="24" creationId="{99D01E62-F77D-E62A-0C2D-824A66B5AD7B}"/>
          </ac:cxnSpMkLst>
        </pc:cxnChg>
      </pc:sldChg>
      <pc:sldChg chg="addSp delSp modSp add del mod addAnim delAnim modAnim">
        <pc:chgData name="Md Fahim Hasan" userId="92968fce-d4dd-4b9e-8635-66a07c9f98a7" providerId="ADAL" clId="{3A6F4128-6482-4C75-8C7D-220A75826C22}" dt="2023-07-21T23:23:12.867" v="14145" actId="47"/>
        <pc:sldMkLst>
          <pc:docMk/>
          <pc:sldMk cId="3852691941" sldId="2146846402"/>
        </pc:sldMkLst>
        <pc:spChg chg="mod">
          <ac:chgData name="Md Fahim Hasan" userId="92968fce-d4dd-4b9e-8635-66a07c9f98a7" providerId="ADAL" clId="{3A6F4128-6482-4C75-8C7D-220A75826C22}" dt="2023-07-20T14:16:33.182" v="7501" actId="20577"/>
          <ac:spMkLst>
            <pc:docMk/>
            <pc:sldMk cId="3852691941" sldId="2146846402"/>
            <ac:spMk id="5" creationId="{4F1C69C7-473D-57DA-412A-0612D6374240}"/>
          </ac:spMkLst>
        </pc:spChg>
        <pc:spChg chg="del">
          <ac:chgData name="Md Fahim Hasan" userId="92968fce-d4dd-4b9e-8635-66a07c9f98a7" providerId="ADAL" clId="{3A6F4128-6482-4C75-8C7D-220A75826C22}" dt="2023-07-20T14:16:09.847" v="7479" actId="478"/>
          <ac:spMkLst>
            <pc:docMk/>
            <pc:sldMk cId="3852691941" sldId="2146846402"/>
            <ac:spMk id="7" creationId="{C1556E6B-31E4-A913-D61C-0DCB77CE068F}"/>
          </ac:spMkLst>
        </pc:spChg>
        <pc:spChg chg="add del mod">
          <ac:chgData name="Md Fahim Hasan" userId="92968fce-d4dd-4b9e-8635-66a07c9f98a7" providerId="ADAL" clId="{3A6F4128-6482-4C75-8C7D-220A75826C22}" dt="2023-07-21T14:47:20.544" v="10116" actId="20577"/>
          <ac:spMkLst>
            <pc:docMk/>
            <pc:sldMk cId="3852691941" sldId="2146846402"/>
            <ac:spMk id="8" creationId="{5146555C-4CEE-7B93-198D-FECB1EA9BBA4}"/>
          </ac:spMkLst>
        </pc:spChg>
        <pc:spChg chg="mod">
          <ac:chgData name="Md Fahim Hasan" userId="92968fce-d4dd-4b9e-8635-66a07c9f98a7" providerId="ADAL" clId="{3A6F4128-6482-4C75-8C7D-220A75826C22}" dt="2023-07-20T18:21:22.687" v="9406" actId="20577"/>
          <ac:spMkLst>
            <pc:docMk/>
            <pc:sldMk cId="3852691941" sldId="2146846402"/>
            <ac:spMk id="9" creationId="{DCE765C9-F866-A10C-05BC-B0F5CF7D4FA9}"/>
          </ac:spMkLst>
        </pc:spChg>
        <pc:picChg chg="mod">
          <ac:chgData name="Md Fahim Hasan" userId="92968fce-d4dd-4b9e-8635-66a07c9f98a7" providerId="ADAL" clId="{3A6F4128-6482-4C75-8C7D-220A75826C22}" dt="2023-07-20T14:17:13.854" v="7538" actId="14100"/>
          <ac:picMkLst>
            <pc:docMk/>
            <pc:sldMk cId="3852691941" sldId="2146846402"/>
            <ac:picMk id="3" creationId="{16BBEA49-B7C7-2619-44DA-70CDEE7990C0}"/>
          </ac:picMkLst>
        </pc:picChg>
        <pc:picChg chg="add del mod">
          <ac:chgData name="Md Fahim Hasan" userId="92968fce-d4dd-4b9e-8635-66a07c9f98a7" providerId="ADAL" clId="{3A6F4128-6482-4C75-8C7D-220A75826C22}" dt="2023-07-21T14:47:14.120" v="10106" actId="14826"/>
          <ac:picMkLst>
            <pc:docMk/>
            <pc:sldMk cId="3852691941" sldId="2146846402"/>
            <ac:picMk id="4" creationId="{D17D41B0-E2D2-4413-CA5F-A3540EAD289B}"/>
          </ac:picMkLst>
        </pc:picChg>
      </pc:sldChg>
      <pc:sldChg chg="addSp delSp modSp add del mod delAnim modAnim">
        <pc:chgData name="Md Fahim Hasan" userId="92968fce-d4dd-4b9e-8635-66a07c9f98a7" providerId="ADAL" clId="{3A6F4128-6482-4C75-8C7D-220A75826C22}" dt="2023-07-21T23:23:21.450" v="14147" actId="47"/>
        <pc:sldMkLst>
          <pc:docMk/>
          <pc:sldMk cId="2941306771" sldId="2146846403"/>
        </pc:sldMkLst>
        <pc:spChg chg="add del mod">
          <ac:chgData name="Md Fahim Hasan" userId="92968fce-d4dd-4b9e-8635-66a07c9f98a7" providerId="ADAL" clId="{3A6F4128-6482-4C75-8C7D-220A75826C22}" dt="2023-07-20T14:32:37.745" v="7886"/>
          <ac:spMkLst>
            <pc:docMk/>
            <pc:sldMk cId="2941306771" sldId="2146846403"/>
            <ac:spMk id="2" creationId="{67497FD9-C49D-77EB-B2B4-3E49F5364C24}"/>
          </ac:spMkLst>
        </pc:spChg>
        <pc:spChg chg="add del mod">
          <ac:chgData name="Md Fahim Hasan" userId="92968fce-d4dd-4b9e-8635-66a07c9f98a7" providerId="ADAL" clId="{3A6F4128-6482-4C75-8C7D-220A75826C22}" dt="2023-07-21T17:38:26.598" v="11331" actId="21"/>
          <ac:spMkLst>
            <pc:docMk/>
            <pc:sldMk cId="2941306771" sldId="2146846403"/>
            <ac:spMk id="4" creationId="{F6135BA9-59E7-2927-7006-84CCCDE289F7}"/>
          </ac:spMkLst>
        </pc:spChg>
        <pc:spChg chg="del">
          <ac:chgData name="Md Fahim Hasan" userId="92968fce-d4dd-4b9e-8635-66a07c9f98a7" providerId="ADAL" clId="{3A6F4128-6482-4C75-8C7D-220A75826C22}" dt="2023-07-20T14:32:04.845" v="7879" actId="478"/>
          <ac:spMkLst>
            <pc:docMk/>
            <pc:sldMk cId="2941306771" sldId="2146846403"/>
            <ac:spMk id="7" creationId="{C1556E6B-31E4-A913-D61C-0DCB77CE068F}"/>
          </ac:spMkLst>
        </pc:spChg>
        <pc:spChg chg="mod">
          <ac:chgData name="Md Fahim Hasan" userId="92968fce-d4dd-4b9e-8635-66a07c9f98a7" providerId="ADAL" clId="{3A6F4128-6482-4C75-8C7D-220A75826C22}" dt="2023-07-20T18:21:19.541" v="9405" actId="27636"/>
          <ac:spMkLst>
            <pc:docMk/>
            <pc:sldMk cId="2941306771" sldId="2146846403"/>
            <ac:spMk id="9" creationId="{DCE765C9-F866-A10C-05BC-B0F5CF7D4FA9}"/>
          </ac:spMkLst>
        </pc:spChg>
        <pc:spChg chg="del">
          <ac:chgData name="Md Fahim Hasan" userId="92968fce-d4dd-4b9e-8635-66a07c9f98a7" providerId="ADAL" clId="{3A6F4128-6482-4C75-8C7D-220A75826C22}" dt="2023-07-20T14:32:41.435" v="7887" actId="478"/>
          <ac:spMkLst>
            <pc:docMk/>
            <pc:sldMk cId="2941306771" sldId="2146846403"/>
            <ac:spMk id="10" creationId="{857B749E-6732-0406-D2BE-7CDBCA431B79}"/>
          </ac:spMkLst>
        </pc:spChg>
        <pc:spChg chg="del">
          <ac:chgData name="Md Fahim Hasan" userId="92968fce-d4dd-4b9e-8635-66a07c9f98a7" providerId="ADAL" clId="{3A6F4128-6482-4C75-8C7D-220A75826C22}" dt="2023-07-20T14:32:41.435" v="7887" actId="478"/>
          <ac:spMkLst>
            <pc:docMk/>
            <pc:sldMk cId="2941306771" sldId="2146846403"/>
            <ac:spMk id="13" creationId="{0DBAA058-1504-E777-7B09-F0DFF0A0CF99}"/>
          </ac:spMkLst>
        </pc:spChg>
        <pc:spChg chg="del">
          <ac:chgData name="Md Fahim Hasan" userId="92968fce-d4dd-4b9e-8635-66a07c9f98a7" providerId="ADAL" clId="{3A6F4128-6482-4C75-8C7D-220A75826C22}" dt="2023-07-20T14:32:06.178" v="7880" actId="478"/>
          <ac:spMkLst>
            <pc:docMk/>
            <pc:sldMk cId="2941306771" sldId="2146846403"/>
            <ac:spMk id="18" creationId="{7C4723AC-A666-87C9-CF2E-8AEFBF9A9098}"/>
          </ac:spMkLst>
        </pc:spChg>
        <pc:spChg chg="del">
          <ac:chgData name="Md Fahim Hasan" userId="92968fce-d4dd-4b9e-8635-66a07c9f98a7" providerId="ADAL" clId="{3A6F4128-6482-4C75-8C7D-220A75826C22}" dt="2023-07-20T14:32:41.435" v="7887" actId="478"/>
          <ac:spMkLst>
            <pc:docMk/>
            <pc:sldMk cId="2941306771" sldId="2146846403"/>
            <ac:spMk id="19" creationId="{F5E98535-C369-7EFF-A731-20DBAFF5BD2C}"/>
          </ac:spMkLst>
        </pc:spChg>
        <pc:spChg chg="del">
          <ac:chgData name="Md Fahim Hasan" userId="92968fce-d4dd-4b9e-8635-66a07c9f98a7" providerId="ADAL" clId="{3A6F4128-6482-4C75-8C7D-220A75826C22}" dt="2023-07-20T14:32:41.435" v="7887" actId="478"/>
          <ac:spMkLst>
            <pc:docMk/>
            <pc:sldMk cId="2941306771" sldId="2146846403"/>
            <ac:spMk id="20" creationId="{1DE051DC-3F4E-DFDD-A032-C1B0BB72BF6D}"/>
          </ac:spMkLst>
        </pc:spChg>
        <pc:spChg chg="del">
          <ac:chgData name="Md Fahim Hasan" userId="92968fce-d4dd-4b9e-8635-66a07c9f98a7" providerId="ADAL" clId="{3A6F4128-6482-4C75-8C7D-220A75826C22}" dt="2023-07-20T14:32:41.435" v="7887" actId="478"/>
          <ac:spMkLst>
            <pc:docMk/>
            <pc:sldMk cId="2941306771" sldId="2146846403"/>
            <ac:spMk id="21" creationId="{50793ED0-B4CD-50DB-3B4A-57FCDEB52756}"/>
          </ac:spMkLst>
        </pc:spChg>
        <pc:spChg chg="del">
          <ac:chgData name="Md Fahim Hasan" userId="92968fce-d4dd-4b9e-8635-66a07c9f98a7" providerId="ADAL" clId="{3A6F4128-6482-4C75-8C7D-220A75826C22}" dt="2023-07-20T14:32:41.435" v="7887" actId="478"/>
          <ac:spMkLst>
            <pc:docMk/>
            <pc:sldMk cId="2941306771" sldId="2146846403"/>
            <ac:spMk id="22" creationId="{EB753DD7-438C-13DC-C408-3AF0BD2E70E9}"/>
          </ac:spMkLst>
        </pc:spChg>
        <pc:picChg chg="mod">
          <ac:chgData name="Md Fahim Hasan" userId="92968fce-d4dd-4b9e-8635-66a07c9f98a7" providerId="ADAL" clId="{3A6F4128-6482-4C75-8C7D-220A75826C22}" dt="2023-07-20T14:45:12.010" v="7919" actId="1076"/>
          <ac:picMkLst>
            <pc:docMk/>
            <pc:sldMk cId="2941306771" sldId="2146846403"/>
            <ac:picMk id="3" creationId="{16BBEA49-B7C7-2619-44DA-70CDEE7990C0}"/>
          </ac:picMkLst>
        </pc:picChg>
      </pc:sldChg>
      <pc:sldChg chg="addSp modSp add mod ord modAnim">
        <pc:chgData name="Md Fahim Hasan" userId="92968fce-d4dd-4b9e-8635-66a07c9f98a7" providerId="ADAL" clId="{3A6F4128-6482-4C75-8C7D-220A75826C22}" dt="2023-07-27T15:51:58.279" v="35706"/>
        <pc:sldMkLst>
          <pc:docMk/>
          <pc:sldMk cId="3556960417" sldId="2146846404"/>
        </pc:sldMkLst>
        <pc:spChg chg="add mod">
          <ac:chgData name="Md Fahim Hasan" userId="92968fce-d4dd-4b9e-8635-66a07c9f98a7" providerId="ADAL" clId="{3A6F4128-6482-4C75-8C7D-220A75826C22}" dt="2023-07-24T19:11:11.267" v="17721" actId="1076"/>
          <ac:spMkLst>
            <pc:docMk/>
            <pc:sldMk cId="3556960417" sldId="2146846404"/>
            <ac:spMk id="2" creationId="{D7F0CE40-FD58-2883-D94E-AB5BE1E84661}"/>
          </ac:spMkLst>
        </pc:spChg>
        <pc:spChg chg="mod">
          <ac:chgData name="Md Fahim Hasan" userId="92968fce-d4dd-4b9e-8635-66a07c9f98a7" providerId="ADAL" clId="{3A6F4128-6482-4C75-8C7D-220A75826C22}" dt="2023-07-27T15:51:58.279" v="35706"/>
          <ac:spMkLst>
            <pc:docMk/>
            <pc:sldMk cId="3556960417" sldId="2146846404"/>
            <ac:spMk id="3" creationId="{80EC1DD3-5F71-1BF9-3CE1-85B58A6ED042}"/>
          </ac:spMkLst>
        </pc:spChg>
        <pc:spChg chg="add mod">
          <ac:chgData name="Md Fahim Hasan" userId="92968fce-d4dd-4b9e-8635-66a07c9f98a7" providerId="ADAL" clId="{3A6F4128-6482-4C75-8C7D-220A75826C22}" dt="2023-07-24T19:11:15.207" v="17722" actId="1076"/>
          <ac:spMkLst>
            <pc:docMk/>
            <pc:sldMk cId="3556960417" sldId="2146846404"/>
            <ac:spMk id="5" creationId="{6A27386A-B57B-A363-CCC3-30DA88AE1FEE}"/>
          </ac:spMkLst>
        </pc:spChg>
        <pc:spChg chg="mod">
          <ac:chgData name="Md Fahim Hasan" userId="92968fce-d4dd-4b9e-8635-66a07c9f98a7" providerId="ADAL" clId="{3A6F4128-6482-4C75-8C7D-220A75826C22}" dt="2023-07-20T18:07:08.665" v="9330" actId="1076"/>
          <ac:spMkLst>
            <pc:docMk/>
            <pc:sldMk cId="3556960417" sldId="2146846404"/>
            <ac:spMk id="9" creationId="{DCE765C9-F866-A10C-05BC-B0F5CF7D4FA9}"/>
          </ac:spMkLst>
        </pc:spChg>
        <pc:picChg chg="add mod">
          <ac:chgData name="Md Fahim Hasan" userId="92968fce-d4dd-4b9e-8635-66a07c9f98a7" providerId="ADAL" clId="{3A6F4128-6482-4C75-8C7D-220A75826C22}" dt="2023-07-20T18:06:49.958" v="9328" actId="1076"/>
          <ac:picMkLst>
            <pc:docMk/>
            <pc:sldMk cId="3556960417" sldId="2146846404"/>
            <ac:picMk id="4" creationId="{1F3928B2-2EB8-90D8-00E2-DB5968469B04}"/>
          </ac:picMkLst>
        </pc:picChg>
      </pc:sldChg>
      <pc:sldChg chg="addSp delSp modSp add mod ord delAnim modAnim modNotesTx">
        <pc:chgData name="Md Fahim Hasan" userId="92968fce-d4dd-4b9e-8635-66a07c9f98a7" providerId="ADAL" clId="{3A6F4128-6482-4C75-8C7D-220A75826C22}" dt="2023-07-28T17:26:01.244" v="38908"/>
        <pc:sldMkLst>
          <pc:docMk/>
          <pc:sldMk cId="4158318354" sldId="2146846405"/>
        </pc:sldMkLst>
        <pc:spChg chg="add mod">
          <ac:chgData name="Md Fahim Hasan" userId="92968fce-d4dd-4b9e-8635-66a07c9f98a7" providerId="ADAL" clId="{3A6F4128-6482-4C75-8C7D-220A75826C22}" dt="2023-07-24T16:54:23.840" v="15253" actId="1076"/>
          <ac:spMkLst>
            <pc:docMk/>
            <pc:sldMk cId="4158318354" sldId="2146846405"/>
            <ac:spMk id="2" creationId="{5CA4440B-028E-4F88-3186-F24679B2C4C9}"/>
          </ac:spMkLst>
        </pc:spChg>
        <pc:spChg chg="mod">
          <ac:chgData name="Md Fahim Hasan" userId="92968fce-d4dd-4b9e-8635-66a07c9f98a7" providerId="ADAL" clId="{3A6F4128-6482-4C75-8C7D-220A75826C22}" dt="2023-07-27T15:51:58.279" v="35706"/>
          <ac:spMkLst>
            <pc:docMk/>
            <pc:sldMk cId="4158318354" sldId="2146846405"/>
            <ac:spMk id="3" creationId="{00F22E15-01EE-FF64-1C18-383243B491A9}"/>
          </ac:spMkLst>
        </pc:spChg>
        <pc:spChg chg="add mod">
          <ac:chgData name="Md Fahim Hasan" userId="92968fce-d4dd-4b9e-8635-66a07c9f98a7" providerId="ADAL" clId="{3A6F4128-6482-4C75-8C7D-220A75826C22}" dt="2023-07-20T15:22:30.006" v="8040" actId="1076"/>
          <ac:spMkLst>
            <pc:docMk/>
            <pc:sldMk cId="4158318354" sldId="2146846405"/>
            <ac:spMk id="4" creationId="{9BBBEEA8-01ED-B542-9A63-9A69DC65E6BA}"/>
          </ac:spMkLst>
        </pc:spChg>
        <pc:spChg chg="add mod">
          <ac:chgData name="Md Fahim Hasan" userId="92968fce-d4dd-4b9e-8635-66a07c9f98a7" providerId="ADAL" clId="{3A6F4128-6482-4C75-8C7D-220A75826C22}" dt="2023-07-20T15:37:47.181" v="8319" actId="12"/>
          <ac:spMkLst>
            <pc:docMk/>
            <pc:sldMk cId="4158318354" sldId="2146846405"/>
            <ac:spMk id="5" creationId="{FBF989BE-2FC9-C908-243D-DA2D7ECAB17C}"/>
          </ac:spMkLst>
        </pc:spChg>
        <pc:spChg chg="add mod">
          <ac:chgData name="Md Fahim Hasan" userId="92968fce-d4dd-4b9e-8635-66a07c9f98a7" providerId="ADAL" clId="{3A6F4128-6482-4C75-8C7D-220A75826C22}" dt="2023-07-24T16:54:14.786" v="15252" actId="14100"/>
          <ac:spMkLst>
            <pc:docMk/>
            <pc:sldMk cId="4158318354" sldId="2146846405"/>
            <ac:spMk id="6" creationId="{E9090D9C-F1FA-CA30-D8D9-B93C832FDBD4}"/>
          </ac:spMkLst>
        </pc:spChg>
        <pc:spChg chg="del">
          <ac:chgData name="Md Fahim Hasan" userId="92968fce-d4dd-4b9e-8635-66a07c9f98a7" providerId="ADAL" clId="{3A6F4128-6482-4C75-8C7D-220A75826C22}" dt="2023-07-20T15:02:13.602" v="7985" actId="478"/>
          <ac:spMkLst>
            <pc:docMk/>
            <pc:sldMk cId="4158318354" sldId="2146846405"/>
            <ac:spMk id="7" creationId="{C1556E6B-31E4-A913-D61C-0DCB77CE068F}"/>
          </ac:spMkLst>
        </pc:spChg>
        <pc:spChg chg="add mod">
          <ac:chgData name="Md Fahim Hasan" userId="92968fce-d4dd-4b9e-8635-66a07c9f98a7" providerId="ADAL" clId="{3A6F4128-6482-4C75-8C7D-220A75826C22}" dt="2023-07-24T16:54:50.679" v="15264" actId="1076"/>
          <ac:spMkLst>
            <pc:docMk/>
            <pc:sldMk cId="4158318354" sldId="2146846405"/>
            <ac:spMk id="8" creationId="{130E9D39-7572-D5EE-8C78-7FDFC7B77798}"/>
          </ac:spMkLst>
        </pc:spChg>
        <pc:spChg chg="mod">
          <ac:chgData name="Md Fahim Hasan" userId="92968fce-d4dd-4b9e-8635-66a07c9f98a7" providerId="ADAL" clId="{3A6F4128-6482-4C75-8C7D-220A75826C22}" dt="2023-07-24T16:55:02.600" v="15267" actId="27636"/>
          <ac:spMkLst>
            <pc:docMk/>
            <pc:sldMk cId="4158318354" sldId="2146846405"/>
            <ac:spMk id="9" creationId="{DCE765C9-F866-A10C-05BC-B0F5CF7D4FA9}"/>
          </ac:spMkLst>
        </pc:spChg>
        <pc:spChg chg="del">
          <ac:chgData name="Md Fahim Hasan" userId="92968fce-d4dd-4b9e-8635-66a07c9f98a7" providerId="ADAL" clId="{3A6F4128-6482-4C75-8C7D-220A75826C22}" dt="2023-07-20T15:20:04.203" v="7987" actId="478"/>
          <ac:spMkLst>
            <pc:docMk/>
            <pc:sldMk cId="4158318354" sldId="2146846405"/>
            <ac:spMk id="10" creationId="{857B749E-6732-0406-D2BE-7CDBCA431B79}"/>
          </ac:spMkLst>
        </pc:spChg>
        <pc:spChg chg="add mod">
          <ac:chgData name="Md Fahim Hasan" userId="92968fce-d4dd-4b9e-8635-66a07c9f98a7" providerId="ADAL" clId="{3A6F4128-6482-4C75-8C7D-220A75826C22}" dt="2023-07-24T16:54:50.679" v="15264" actId="1076"/>
          <ac:spMkLst>
            <pc:docMk/>
            <pc:sldMk cId="4158318354" sldId="2146846405"/>
            <ac:spMk id="11" creationId="{DF0F00DF-0893-8866-FE70-C4DEA8AA9BAF}"/>
          </ac:spMkLst>
        </pc:spChg>
        <pc:spChg chg="add mod">
          <ac:chgData name="Md Fahim Hasan" userId="92968fce-d4dd-4b9e-8635-66a07c9f98a7" providerId="ADAL" clId="{3A6F4128-6482-4C75-8C7D-220A75826C22}" dt="2023-07-25T20:39:36.637" v="20699" actId="1076"/>
          <ac:spMkLst>
            <pc:docMk/>
            <pc:sldMk cId="4158318354" sldId="2146846405"/>
            <ac:spMk id="12" creationId="{3D9AEB3F-97A4-58D7-EBA2-A315915EA8D1}"/>
          </ac:spMkLst>
        </pc:spChg>
        <pc:spChg chg="del">
          <ac:chgData name="Md Fahim Hasan" userId="92968fce-d4dd-4b9e-8635-66a07c9f98a7" providerId="ADAL" clId="{3A6F4128-6482-4C75-8C7D-220A75826C22}" dt="2023-07-20T15:20:04.203" v="7987" actId="478"/>
          <ac:spMkLst>
            <pc:docMk/>
            <pc:sldMk cId="4158318354" sldId="2146846405"/>
            <ac:spMk id="13" creationId="{0DBAA058-1504-E777-7B09-F0DFF0A0CF99}"/>
          </ac:spMkLst>
        </pc:spChg>
        <pc:spChg chg="add del mod">
          <ac:chgData name="Md Fahim Hasan" userId="92968fce-d4dd-4b9e-8635-66a07c9f98a7" providerId="ADAL" clId="{3A6F4128-6482-4C75-8C7D-220A75826C22}" dt="2023-07-24T16:55:15.099" v="15270" actId="478"/>
          <ac:spMkLst>
            <pc:docMk/>
            <pc:sldMk cId="4158318354" sldId="2146846405"/>
            <ac:spMk id="13" creationId="{2E5455B5-EA01-E3E6-2A3B-F41E1FB9C6FF}"/>
          </ac:spMkLst>
        </pc:spChg>
        <pc:spChg chg="add del mod">
          <ac:chgData name="Md Fahim Hasan" userId="92968fce-d4dd-4b9e-8635-66a07c9f98a7" providerId="ADAL" clId="{3A6F4128-6482-4C75-8C7D-220A75826C22}" dt="2023-07-24T16:54:42.576" v="15263" actId="478"/>
          <ac:spMkLst>
            <pc:docMk/>
            <pc:sldMk cId="4158318354" sldId="2146846405"/>
            <ac:spMk id="14" creationId="{4199DBE8-63F3-4383-0991-511B562001EC}"/>
          </ac:spMkLst>
        </pc:spChg>
        <pc:spChg chg="add del mod">
          <ac:chgData name="Md Fahim Hasan" userId="92968fce-d4dd-4b9e-8635-66a07c9f98a7" providerId="ADAL" clId="{3A6F4128-6482-4C75-8C7D-220A75826C22}" dt="2023-07-24T16:54:39.371" v="15262" actId="478"/>
          <ac:spMkLst>
            <pc:docMk/>
            <pc:sldMk cId="4158318354" sldId="2146846405"/>
            <ac:spMk id="16" creationId="{AF6B1778-46F0-7230-0D81-AE00CA5D1F0B}"/>
          </ac:spMkLst>
        </pc:spChg>
        <pc:spChg chg="add del mod">
          <ac:chgData name="Md Fahim Hasan" userId="92968fce-d4dd-4b9e-8635-66a07c9f98a7" providerId="ADAL" clId="{3A6F4128-6482-4C75-8C7D-220A75826C22}" dt="2023-07-24T16:54:38.627" v="15261" actId="478"/>
          <ac:spMkLst>
            <pc:docMk/>
            <pc:sldMk cId="4158318354" sldId="2146846405"/>
            <ac:spMk id="17" creationId="{31191FEE-0621-A450-9501-BCDCA0F9CB2A}"/>
          </ac:spMkLst>
        </pc:spChg>
        <pc:spChg chg="del">
          <ac:chgData name="Md Fahim Hasan" userId="92968fce-d4dd-4b9e-8635-66a07c9f98a7" providerId="ADAL" clId="{3A6F4128-6482-4C75-8C7D-220A75826C22}" dt="2023-07-20T15:20:04.203" v="7987" actId="478"/>
          <ac:spMkLst>
            <pc:docMk/>
            <pc:sldMk cId="4158318354" sldId="2146846405"/>
            <ac:spMk id="18" creationId="{7C4723AC-A666-87C9-CF2E-8AEFBF9A9098}"/>
          </ac:spMkLst>
        </pc:spChg>
        <pc:spChg chg="del">
          <ac:chgData name="Md Fahim Hasan" userId="92968fce-d4dd-4b9e-8635-66a07c9f98a7" providerId="ADAL" clId="{3A6F4128-6482-4C75-8C7D-220A75826C22}" dt="2023-07-20T15:20:04.203" v="7987" actId="478"/>
          <ac:spMkLst>
            <pc:docMk/>
            <pc:sldMk cId="4158318354" sldId="2146846405"/>
            <ac:spMk id="19" creationId="{F5E98535-C369-7EFF-A731-20DBAFF5BD2C}"/>
          </ac:spMkLst>
        </pc:spChg>
        <pc:spChg chg="del">
          <ac:chgData name="Md Fahim Hasan" userId="92968fce-d4dd-4b9e-8635-66a07c9f98a7" providerId="ADAL" clId="{3A6F4128-6482-4C75-8C7D-220A75826C22}" dt="2023-07-20T15:20:04.203" v="7987" actId="478"/>
          <ac:spMkLst>
            <pc:docMk/>
            <pc:sldMk cId="4158318354" sldId="2146846405"/>
            <ac:spMk id="20" creationId="{1DE051DC-3F4E-DFDD-A032-C1B0BB72BF6D}"/>
          </ac:spMkLst>
        </pc:spChg>
        <pc:spChg chg="del">
          <ac:chgData name="Md Fahim Hasan" userId="92968fce-d4dd-4b9e-8635-66a07c9f98a7" providerId="ADAL" clId="{3A6F4128-6482-4C75-8C7D-220A75826C22}" dt="2023-07-20T15:20:04.203" v="7987" actId="478"/>
          <ac:spMkLst>
            <pc:docMk/>
            <pc:sldMk cId="4158318354" sldId="2146846405"/>
            <ac:spMk id="21" creationId="{50793ED0-B4CD-50DB-3B4A-57FCDEB52756}"/>
          </ac:spMkLst>
        </pc:spChg>
        <pc:spChg chg="add mod">
          <ac:chgData name="Md Fahim Hasan" userId="92968fce-d4dd-4b9e-8635-66a07c9f98a7" providerId="ADAL" clId="{3A6F4128-6482-4C75-8C7D-220A75826C22}" dt="2023-07-25T20:50:02.253" v="20758" actId="14100"/>
          <ac:spMkLst>
            <pc:docMk/>
            <pc:sldMk cId="4158318354" sldId="2146846405"/>
            <ac:spMk id="22" creationId="{84A884FF-D6E8-DB6E-BE2D-CD78B2329537}"/>
          </ac:spMkLst>
        </pc:spChg>
        <pc:spChg chg="del">
          <ac:chgData name="Md Fahim Hasan" userId="92968fce-d4dd-4b9e-8635-66a07c9f98a7" providerId="ADAL" clId="{3A6F4128-6482-4C75-8C7D-220A75826C22}" dt="2023-07-20T15:20:04.203" v="7987" actId="478"/>
          <ac:spMkLst>
            <pc:docMk/>
            <pc:sldMk cId="4158318354" sldId="2146846405"/>
            <ac:spMk id="22" creationId="{EB753DD7-438C-13DC-C408-3AF0BD2E70E9}"/>
          </ac:spMkLst>
        </pc:spChg>
        <pc:spChg chg="add del mod">
          <ac:chgData name="Md Fahim Hasan" userId="92968fce-d4dd-4b9e-8635-66a07c9f98a7" providerId="ADAL" clId="{3A6F4128-6482-4C75-8C7D-220A75826C22}" dt="2023-07-24T16:54:42.576" v="15263" actId="478"/>
          <ac:spMkLst>
            <pc:docMk/>
            <pc:sldMk cId="4158318354" sldId="2146846405"/>
            <ac:spMk id="23" creationId="{2BCC28C0-026C-B498-DCFA-DD6BDE07E20F}"/>
          </ac:spMkLst>
        </pc:spChg>
        <pc:spChg chg="add del mod">
          <ac:chgData name="Md Fahim Hasan" userId="92968fce-d4dd-4b9e-8635-66a07c9f98a7" providerId="ADAL" clId="{3A6F4128-6482-4C75-8C7D-220A75826C22}" dt="2023-07-24T16:54:42.576" v="15263" actId="478"/>
          <ac:spMkLst>
            <pc:docMk/>
            <pc:sldMk cId="4158318354" sldId="2146846405"/>
            <ac:spMk id="24" creationId="{312FCD35-EB4D-9F79-45E3-6EB5C1300883}"/>
          </ac:spMkLst>
        </pc:spChg>
        <pc:spChg chg="add del mod">
          <ac:chgData name="Md Fahim Hasan" userId="92968fce-d4dd-4b9e-8635-66a07c9f98a7" providerId="ADAL" clId="{3A6F4128-6482-4C75-8C7D-220A75826C22}" dt="2023-07-24T16:54:42.576" v="15263" actId="478"/>
          <ac:spMkLst>
            <pc:docMk/>
            <pc:sldMk cId="4158318354" sldId="2146846405"/>
            <ac:spMk id="25" creationId="{6331F0C7-038D-0E2A-5858-D3D54C1648C5}"/>
          </ac:spMkLst>
        </pc:spChg>
        <pc:spChg chg="add mod">
          <ac:chgData name="Md Fahim Hasan" userId="92968fce-d4dd-4b9e-8635-66a07c9f98a7" providerId="ADAL" clId="{3A6F4128-6482-4C75-8C7D-220A75826C22}" dt="2023-07-25T20:39:45.037" v="20703" actId="1076"/>
          <ac:spMkLst>
            <pc:docMk/>
            <pc:sldMk cId="4158318354" sldId="2146846405"/>
            <ac:spMk id="28" creationId="{F8CA0F20-230F-4570-700C-FA2F2B52DCF4}"/>
          </ac:spMkLst>
        </pc:spChg>
        <pc:spChg chg="add mod">
          <ac:chgData name="Md Fahim Hasan" userId="92968fce-d4dd-4b9e-8635-66a07c9f98a7" providerId="ADAL" clId="{3A6F4128-6482-4C75-8C7D-220A75826C22}" dt="2023-07-24T16:56:24.341" v="15285" actId="14100"/>
          <ac:spMkLst>
            <pc:docMk/>
            <pc:sldMk cId="4158318354" sldId="2146846405"/>
            <ac:spMk id="29" creationId="{45C99936-BD6F-80BE-E422-684ACF5B6162}"/>
          </ac:spMkLst>
        </pc:spChg>
        <pc:spChg chg="add del mod">
          <ac:chgData name="Md Fahim Hasan" userId="92968fce-d4dd-4b9e-8635-66a07c9f98a7" providerId="ADAL" clId="{3A6F4128-6482-4C75-8C7D-220A75826C22}" dt="2023-07-25T20:45:11.673" v="20706" actId="478"/>
          <ac:spMkLst>
            <pc:docMk/>
            <pc:sldMk cId="4158318354" sldId="2146846405"/>
            <ac:spMk id="30" creationId="{BA379C2F-CF8D-FB90-EC65-613767A5CA53}"/>
          </ac:spMkLst>
        </pc:spChg>
        <pc:grpChg chg="add mod">
          <ac:chgData name="Md Fahim Hasan" userId="92968fce-d4dd-4b9e-8635-66a07c9f98a7" providerId="ADAL" clId="{3A6F4128-6482-4C75-8C7D-220A75826C22}" dt="2023-07-25T20:48:41.801" v="20746" actId="1076"/>
          <ac:grpSpMkLst>
            <pc:docMk/>
            <pc:sldMk cId="4158318354" sldId="2146846405"/>
            <ac:grpSpMk id="25" creationId="{B3357281-751E-41D7-8395-1B7BE658370E}"/>
          </ac:grpSpMkLst>
        </pc:grpChg>
        <pc:grpChg chg="add del mod">
          <ac:chgData name="Md Fahim Hasan" userId="92968fce-d4dd-4b9e-8635-66a07c9f98a7" providerId="ADAL" clId="{3A6F4128-6482-4C75-8C7D-220A75826C22}" dt="2023-07-25T21:29:42.445" v="21243" actId="165"/>
          <ac:grpSpMkLst>
            <pc:docMk/>
            <pc:sldMk cId="4158318354" sldId="2146846405"/>
            <ac:grpSpMk id="39" creationId="{2DB4E34E-07AC-24F1-4892-97EA6BA12FD0}"/>
          </ac:grpSpMkLst>
        </pc:grpChg>
        <pc:grpChg chg="add mod">
          <ac:chgData name="Md Fahim Hasan" userId="92968fce-d4dd-4b9e-8635-66a07c9f98a7" providerId="ADAL" clId="{3A6F4128-6482-4C75-8C7D-220A75826C22}" dt="2023-07-25T21:29:57.028" v="21245" actId="1076"/>
          <ac:grpSpMkLst>
            <pc:docMk/>
            <pc:sldMk cId="4158318354" sldId="2146846405"/>
            <ac:grpSpMk id="43" creationId="{1BA4ECC9-B540-3490-1ACD-778434F438B4}"/>
          </ac:grpSpMkLst>
        </pc:grpChg>
        <pc:graphicFrameChg chg="add del mod modGraphic">
          <ac:chgData name="Md Fahim Hasan" userId="92968fce-d4dd-4b9e-8635-66a07c9f98a7" providerId="ADAL" clId="{3A6F4128-6482-4C75-8C7D-220A75826C22}" dt="2023-07-24T16:54:42.576" v="15263" actId="478"/>
          <ac:graphicFrameMkLst>
            <pc:docMk/>
            <pc:sldMk cId="4158318354" sldId="2146846405"/>
            <ac:graphicFrameMk id="15" creationId="{6A286ADB-6BBA-AA5A-C269-39346A7DFDC9}"/>
          </ac:graphicFrameMkLst>
        </pc:graphicFrameChg>
        <pc:picChg chg="del">
          <ac:chgData name="Md Fahim Hasan" userId="92968fce-d4dd-4b9e-8635-66a07c9f98a7" providerId="ADAL" clId="{3A6F4128-6482-4C75-8C7D-220A75826C22}" dt="2023-07-20T15:20:01.454" v="7986" actId="478"/>
          <ac:picMkLst>
            <pc:docMk/>
            <pc:sldMk cId="4158318354" sldId="2146846405"/>
            <ac:picMk id="3" creationId="{16BBEA49-B7C7-2619-44DA-70CDEE7990C0}"/>
          </ac:picMkLst>
        </pc:picChg>
        <pc:picChg chg="del mod">
          <ac:chgData name="Md Fahim Hasan" userId="92968fce-d4dd-4b9e-8635-66a07c9f98a7" providerId="ADAL" clId="{3A6F4128-6482-4C75-8C7D-220A75826C22}" dt="2023-07-25T20:28:45.578" v="20564" actId="478"/>
          <ac:picMkLst>
            <pc:docMk/>
            <pc:sldMk cId="4158318354" sldId="2146846405"/>
            <ac:picMk id="7" creationId="{7933CCE4-2345-F731-C00F-AEC32D0BEB53}"/>
          </ac:picMkLst>
        </pc:picChg>
        <pc:picChg chg="del mod">
          <ac:chgData name="Md Fahim Hasan" userId="92968fce-d4dd-4b9e-8635-66a07c9f98a7" providerId="ADAL" clId="{3A6F4128-6482-4C75-8C7D-220A75826C22}" dt="2023-07-25T20:28:45.578" v="20564" actId="478"/>
          <ac:picMkLst>
            <pc:docMk/>
            <pc:sldMk cId="4158318354" sldId="2146846405"/>
            <ac:picMk id="10" creationId="{F75BF2A5-2790-A746-0313-ABF0A7988758}"/>
          </ac:picMkLst>
        </pc:picChg>
        <pc:picChg chg="del mod">
          <ac:chgData name="Md Fahim Hasan" userId="92968fce-d4dd-4b9e-8635-66a07c9f98a7" providerId="ADAL" clId="{3A6F4128-6482-4C75-8C7D-220A75826C22}" dt="2023-07-25T20:28:45.578" v="20564" actId="478"/>
          <ac:picMkLst>
            <pc:docMk/>
            <pc:sldMk cId="4158318354" sldId="2146846405"/>
            <ac:picMk id="13" creationId="{600A6E69-3336-B0AB-21E8-9B46B3B7FED5}"/>
          </ac:picMkLst>
        </pc:picChg>
        <pc:picChg chg="del mod">
          <ac:chgData name="Md Fahim Hasan" userId="92968fce-d4dd-4b9e-8635-66a07c9f98a7" providerId="ADAL" clId="{3A6F4128-6482-4C75-8C7D-220A75826C22}" dt="2023-07-25T20:28:45.578" v="20564" actId="478"/>
          <ac:picMkLst>
            <pc:docMk/>
            <pc:sldMk cId="4158318354" sldId="2146846405"/>
            <ac:picMk id="14" creationId="{C8CC61A1-CC55-4DD4-7937-04171FD999C6}"/>
          </ac:picMkLst>
        </pc:picChg>
        <pc:picChg chg="add mod modCrop">
          <ac:chgData name="Md Fahim Hasan" userId="92968fce-d4dd-4b9e-8635-66a07c9f98a7" providerId="ADAL" clId="{3A6F4128-6482-4C75-8C7D-220A75826C22}" dt="2023-07-25T20:39:20.997" v="20695" actId="164"/>
          <ac:picMkLst>
            <pc:docMk/>
            <pc:sldMk cId="4158318354" sldId="2146846405"/>
            <ac:picMk id="16" creationId="{D9A75E5E-D421-9F02-C653-2DCED4BEE310}"/>
          </ac:picMkLst>
        </pc:picChg>
        <pc:picChg chg="add mod modCrop">
          <ac:chgData name="Md Fahim Hasan" userId="92968fce-d4dd-4b9e-8635-66a07c9f98a7" providerId="ADAL" clId="{3A6F4128-6482-4C75-8C7D-220A75826C22}" dt="2023-07-25T20:39:20.997" v="20695" actId="164"/>
          <ac:picMkLst>
            <pc:docMk/>
            <pc:sldMk cId="4158318354" sldId="2146846405"/>
            <ac:picMk id="18" creationId="{2A4E8EF0-D5ED-9550-4830-1904FC63FFB2}"/>
          </ac:picMkLst>
        </pc:picChg>
        <pc:picChg chg="add mod modCrop">
          <ac:chgData name="Md Fahim Hasan" userId="92968fce-d4dd-4b9e-8635-66a07c9f98a7" providerId="ADAL" clId="{3A6F4128-6482-4C75-8C7D-220A75826C22}" dt="2023-07-25T20:39:20.997" v="20695" actId="164"/>
          <ac:picMkLst>
            <pc:docMk/>
            <pc:sldMk cId="4158318354" sldId="2146846405"/>
            <ac:picMk id="20" creationId="{E67D2468-7831-F453-2A52-5723971AE552}"/>
          </ac:picMkLst>
        </pc:picChg>
        <pc:picChg chg="add mod ord">
          <ac:chgData name="Md Fahim Hasan" userId="92968fce-d4dd-4b9e-8635-66a07c9f98a7" providerId="ADAL" clId="{3A6F4128-6482-4C75-8C7D-220A75826C22}" dt="2023-07-25T20:39:20.997" v="20695" actId="164"/>
          <ac:picMkLst>
            <pc:docMk/>
            <pc:sldMk cId="4158318354" sldId="2146846405"/>
            <ac:picMk id="21" creationId="{05E9C9B5-A17B-24B5-B9B6-1AD4D12EEC4A}"/>
          </ac:picMkLst>
        </pc:picChg>
        <pc:picChg chg="add mod">
          <ac:chgData name="Md Fahim Hasan" userId="92968fce-d4dd-4b9e-8635-66a07c9f98a7" providerId="ADAL" clId="{3A6F4128-6482-4C75-8C7D-220A75826C22}" dt="2023-07-25T20:40:58.816" v="20704" actId="1076"/>
          <ac:picMkLst>
            <pc:docMk/>
            <pc:sldMk cId="4158318354" sldId="2146846405"/>
            <ac:picMk id="23" creationId="{9C3B8CF1-ADC3-7D75-659A-265DE7E1097C}"/>
          </ac:picMkLst>
        </pc:picChg>
        <pc:picChg chg="add mod">
          <ac:chgData name="Md Fahim Hasan" userId="92968fce-d4dd-4b9e-8635-66a07c9f98a7" providerId="ADAL" clId="{3A6F4128-6482-4C75-8C7D-220A75826C22}" dt="2023-07-25T20:41:01.729" v="20705" actId="1076"/>
          <ac:picMkLst>
            <pc:docMk/>
            <pc:sldMk cId="4158318354" sldId="2146846405"/>
            <ac:picMk id="24" creationId="{A6334269-1A73-EE1F-6E20-86D8472D0F9F}"/>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3" creationId="{F5909640-22FD-A1A9-8806-83E7356CFCD7}"/>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5" creationId="{E1097BD4-836A-3864-2107-FE4601DD088A}"/>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6" creationId="{D0500B77-455D-83F1-F712-86DD603FC36C}"/>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7" creationId="{FB1BB6F7-93CE-B2AF-6D12-7D1F152F2BD6}"/>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8" creationId="{6F5F416A-4624-C63C-1753-648878CFEEA0}"/>
          </ac:picMkLst>
        </pc:picChg>
        <pc:picChg chg="add mod">
          <ac:chgData name="Md Fahim Hasan" userId="92968fce-d4dd-4b9e-8635-66a07c9f98a7" providerId="ADAL" clId="{3A6F4128-6482-4C75-8C7D-220A75826C22}" dt="2023-07-25T21:29:48.709" v="21244" actId="164"/>
          <ac:picMkLst>
            <pc:docMk/>
            <pc:sldMk cId="4158318354" sldId="2146846405"/>
            <ac:picMk id="42" creationId="{977C24D3-A350-3A2E-C184-4C3866D66E77}"/>
          </ac:picMkLst>
        </pc:picChg>
        <pc:cxnChg chg="add del mod">
          <ac:chgData name="Md Fahim Hasan" userId="92968fce-d4dd-4b9e-8635-66a07c9f98a7" providerId="ADAL" clId="{3A6F4128-6482-4C75-8C7D-220A75826C22}" dt="2023-07-24T16:55:15.099" v="15270" actId="478"/>
          <ac:cxnSpMkLst>
            <pc:docMk/>
            <pc:sldMk cId="4158318354" sldId="2146846405"/>
            <ac:cxnSpMk id="18" creationId="{97317095-DFFB-B519-695F-796D9E22B5CB}"/>
          </ac:cxnSpMkLst>
        </pc:cxnChg>
        <pc:cxnChg chg="add del mod">
          <ac:chgData name="Md Fahim Hasan" userId="92968fce-d4dd-4b9e-8635-66a07c9f98a7" providerId="ADAL" clId="{3A6F4128-6482-4C75-8C7D-220A75826C22}" dt="2023-07-24T16:55:15.099" v="15270" actId="478"/>
          <ac:cxnSpMkLst>
            <pc:docMk/>
            <pc:sldMk cId="4158318354" sldId="2146846405"/>
            <ac:cxnSpMk id="19" creationId="{83CC976F-2009-0365-2C60-4836E43663A2}"/>
          </ac:cxnSpMkLst>
        </pc:cxnChg>
        <pc:cxnChg chg="add del mod">
          <ac:chgData name="Md Fahim Hasan" userId="92968fce-d4dd-4b9e-8635-66a07c9f98a7" providerId="ADAL" clId="{3A6F4128-6482-4C75-8C7D-220A75826C22}" dt="2023-07-24T16:55:15.099" v="15270" actId="478"/>
          <ac:cxnSpMkLst>
            <pc:docMk/>
            <pc:sldMk cId="4158318354" sldId="2146846405"/>
            <ac:cxnSpMk id="20" creationId="{7C50FA38-C56A-B0FD-0BDE-B9E57EC2EF6C}"/>
          </ac:cxnSpMkLst>
        </pc:cxnChg>
        <pc:cxnChg chg="add del mod">
          <ac:chgData name="Md Fahim Hasan" userId="92968fce-d4dd-4b9e-8635-66a07c9f98a7" providerId="ADAL" clId="{3A6F4128-6482-4C75-8C7D-220A75826C22}" dt="2023-07-24T16:55:15.099" v="15270" actId="478"/>
          <ac:cxnSpMkLst>
            <pc:docMk/>
            <pc:sldMk cId="4158318354" sldId="2146846405"/>
            <ac:cxnSpMk id="21" creationId="{B581DA60-3BFC-5679-0F90-A6928FB0734C}"/>
          </ac:cxnSpMkLst>
        </pc:cxnChg>
        <pc:cxnChg chg="add mod">
          <ac:chgData name="Md Fahim Hasan" userId="92968fce-d4dd-4b9e-8635-66a07c9f98a7" providerId="ADAL" clId="{3A6F4128-6482-4C75-8C7D-220A75826C22}" dt="2023-07-25T20:39:29.426" v="20698" actId="14100"/>
          <ac:cxnSpMkLst>
            <pc:docMk/>
            <pc:sldMk cId="4158318354" sldId="2146846405"/>
            <ac:cxnSpMk id="27" creationId="{9DF090FC-BE88-4448-BF11-C6BAAEE37B76}"/>
          </ac:cxnSpMkLst>
        </pc:cxnChg>
        <pc:cxnChg chg="add del mod">
          <ac:chgData name="Md Fahim Hasan" userId="92968fce-d4dd-4b9e-8635-66a07c9f98a7" providerId="ADAL" clId="{3A6F4128-6482-4C75-8C7D-220A75826C22}" dt="2023-07-20T15:42:02.085" v="8339" actId="478"/>
          <ac:cxnSpMkLst>
            <pc:docMk/>
            <pc:sldMk cId="4158318354" sldId="2146846405"/>
            <ac:cxnSpMk id="27" creationId="{F4B12A6A-7020-0002-707E-3A06F6D34B4B}"/>
          </ac:cxnSpMkLst>
        </pc:cxnChg>
        <pc:cxnChg chg="add del mod">
          <ac:chgData name="Md Fahim Hasan" userId="92968fce-d4dd-4b9e-8635-66a07c9f98a7" providerId="ADAL" clId="{3A6F4128-6482-4C75-8C7D-220A75826C22}" dt="2023-07-20T15:42:04.652" v="8341" actId="478"/>
          <ac:cxnSpMkLst>
            <pc:docMk/>
            <pc:sldMk cId="4158318354" sldId="2146846405"/>
            <ac:cxnSpMk id="29" creationId="{21A5FF93-118C-8900-FF09-15A52F338EA1}"/>
          </ac:cxnSpMkLst>
        </pc:cxnChg>
        <pc:cxnChg chg="add mod">
          <ac:chgData name="Md Fahim Hasan" userId="92968fce-d4dd-4b9e-8635-66a07c9f98a7" providerId="ADAL" clId="{3A6F4128-6482-4C75-8C7D-220A75826C22}" dt="2023-07-25T20:48:52.577" v="20748" actId="14100"/>
          <ac:cxnSpMkLst>
            <pc:docMk/>
            <pc:sldMk cId="4158318354" sldId="2146846405"/>
            <ac:cxnSpMk id="32" creationId="{4CCCEBD3-DE28-77A4-5107-F7A7832F5360}"/>
          </ac:cxnSpMkLst>
        </pc:cxnChg>
        <pc:cxnChg chg="add del mod">
          <ac:chgData name="Md Fahim Hasan" userId="92968fce-d4dd-4b9e-8635-66a07c9f98a7" providerId="ADAL" clId="{3A6F4128-6482-4C75-8C7D-220A75826C22}" dt="2023-07-20T15:42:05.597" v="8342" actId="478"/>
          <ac:cxnSpMkLst>
            <pc:docMk/>
            <pc:sldMk cId="4158318354" sldId="2146846405"/>
            <ac:cxnSpMk id="33" creationId="{569545A2-DBA5-BA0A-7E7F-393C0B58F2AC}"/>
          </ac:cxnSpMkLst>
        </pc:cxnChg>
        <pc:cxnChg chg="add mod">
          <ac:chgData name="Md Fahim Hasan" userId="92968fce-d4dd-4b9e-8635-66a07c9f98a7" providerId="ADAL" clId="{3A6F4128-6482-4C75-8C7D-220A75826C22}" dt="2023-07-25T20:48:56.371" v="20749" actId="14100"/>
          <ac:cxnSpMkLst>
            <pc:docMk/>
            <pc:sldMk cId="4158318354" sldId="2146846405"/>
            <ac:cxnSpMk id="34" creationId="{08419CF4-CBAD-281D-882F-893CEFAF773B}"/>
          </ac:cxnSpMkLst>
        </pc:cxnChg>
        <pc:cxnChg chg="add del mod">
          <ac:chgData name="Md Fahim Hasan" userId="92968fce-d4dd-4b9e-8635-66a07c9f98a7" providerId="ADAL" clId="{3A6F4128-6482-4C75-8C7D-220A75826C22}" dt="2023-07-20T15:42:03.628" v="8340" actId="478"/>
          <ac:cxnSpMkLst>
            <pc:docMk/>
            <pc:sldMk cId="4158318354" sldId="2146846405"/>
            <ac:cxnSpMk id="37" creationId="{241EC955-211B-1ADF-5B40-17CE8B6CA42E}"/>
          </ac:cxnSpMkLst>
        </pc:cxnChg>
        <pc:cxnChg chg="add del mod">
          <ac:chgData name="Md Fahim Hasan" userId="92968fce-d4dd-4b9e-8635-66a07c9f98a7" providerId="ADAL" clId="{3A6F4128-6482-4C75-8C7D-220A75826C22}" dt="2023-07-24T16:55:24.185" v="15271" actId="478"/>
          <ac:cxnSpMkLst>
            <pc:docMk/>
            <pc:sldMk cId="4158318354" sldId="2146846405"/>
            <ac:cxnSpMk id="39" creationId="{02AF00EA-2876-8D8A-EBDA-74C62DE65DD0}"/>
          </ac:cxnSpMkLst>
        </pc:cxnChg>
        <pc:cxnChg chg="add del mod">
          <ac:chgData name="Md Fahim Hasan" userId="92968fce-d4dd-4b9e-8635-66a07c9f98a7" providerId="ADAL" clId="{3A6F4128-6482-4C75-8C7D-220A75826C22}" dt="2023-07-24T16:55:25.160" v="15272" actId="478"/>
          <ac:cxnSpMkLst>
            <pc:docMk/>
            <pc:sldMk cId="4158318354" sldId="2146846405"/>
            <ac:cxnSpMk id="40" creationId="{B38667B8-2749-93A0-FCA9-9063F8CF7E76}"/>
          </ac:cxnSpMkLst>
        </pc:cxnChg>
        <pc:cxnChg chg="add del mod">
          <ac:chgData name="Md Fahim Hasan" userId="92968fce-d4dd-4b9e-8635-66a07c9f98a7" providerId="ADAL" clId="{3A6F4128-6482-4C75-8C7D-220A75826C22}" dt="2023-07-24T16:55:25.854" v="15273" actId="478"/>
          <ac:cxnSpMkLst>
            <pc:docMk/>
            <pc:sldMk cId="4158318354" sldId="2146846405"/>
            <ac:cxnSpMk id="45" creationId="{A259E9D6-EB57-7CE8-3E09-F814D6FDA759}"/>
          </ac:cxnSpMkLst>
        </pc:cxnChg>
        <pc:cxnChg chg="add del mod">
          <ac:chgData name="Md Fahim Hasan" userId="92968fce-d4dd-4b9e-8635-66a07c9f98a7" providerId="ADAL" clId="{3A6F4128-6482-4C75-8C7D-220A75826C22}" dt="2023-07-24T16:55:27.031" v="15274" actId="478"/>
          <ac:cxnSpMkLst>
            <pc:docMk/>
            <pc:sldMk cId="4158318354" sldId="2146846405"/>
            <ac:cxnSpMk id="49" creationId="{25CC8F31-8381-3139-2F65-E44EA605221F}"/>
          </ac:cxnSpMkLst>
        </pc:cxnChg>
        <pc:cxnChg chg="add del mod">
          <ac:chgData name="Md Fahim Hasan" userId="92968fce-d4dd-4b9e-8635-66a07c9f98a7" providerId="ADAL" clId="{3A6F4128-6482-4C75-8C7D-220A75826C22}" dt="2023-07-24T16:54:42.576" v="15263" actId="478"/>
          <ac:cxnSpMkLst>
            <pc:docMk/>
            <pc:sldMk cId="4158318354" sldId="2146846405"/>
            <ac:cxnSpMk id="58" creationId="{A179DABB-F0E5-5084-5145-7B33E5710F89}"/>
          </ac:cxnSpMkLst>
        </pc:cxnChg>
      </pc:sldChg>
      <pc:sldChg chg="addSp delSp modSp add del mod delAnim modAnim">
        <pc:chgData name="Md Fahim Hasan" userId="92968fce-d4dd-4b9e-8635-66a07c9f98a7" providerId="ADAL" clId="{3A6F4128-6482-4C75-8C7D-220A75826C22}" dt="2023-07-24T16:59:06.689" v="15315" actId="47"/>
        <pc:sldMkLst>
          <pc:docMk/>
          <pc:sldMk cId="1118403182" sldId="2146846406"/>
        </pc:sldMkLst>
        <pc:spChg chg="add mod">
          <ac:chgData name="Md Fahim Hasan" userId="92968fce-d4dd-4b9e-8635-66a07c9f98a7" providerId="ADAL" clId="{3A6F4128-6482-4C75-8C7D-220A75826C22}" dt="2023-07-20T15:48:09.742" v="8457" actId="207"/>
          <ac:spMkLst>
            <pc:docMk/>
            <pc:sldMk cId="1118403182" sldId="2146846406"/>
            <ac:spMk id="7" creationId="{7F1CBD92-5668-8534-F13F-9951672B7FA1}"/>
          </ac:spMkLst>
        </pc:spChg>
        <pc:spChg chg="mod">
          <ac:chgData name="Md Fahim Hasan" userId="92968fce-d4dd-4b9e-8635-66a07c9f98a7" providerId="ADAL" clId="{3A6F4128-6482-4C75-8C7D-220A75826C22}" dt="2023-07-20T15:46:26.892" v="8396" actId="1076"/>
          <ac:spMkLst>
            <pc:docMk/>
            <pc:sldMk cId="1118403182" sldId="2146846406"/>
            <ac:spMk id="8" creationId="{130E9D39-7572-D5EE-8C78-7FDFC7B77798}"/>
          </ac:spMkLst>
        </pc:spChg>
        <pc:spChg chg="mod">
          <ac:chgData name="Md Fahim Hasan" userId="92968fce-d4dd-4b9e-8635-66a07c9f98a7" providerId="ADAL" clId="{3A6F4128-6482-4C75-8C7D-220A75826C22}" dt="2023-07-21T13:57:05.854" v="10040" actId="20577"/>
          <ac:spMkLst>
            <pc:docMk/>
            <pc:sldMk cId="1118403182" sldId="2146846406"/>
            <ac:spMk id="9" creationId="{DCE765C9-F866-A10C-05BC-B0F5CF7D4FA9}"/>
          </ac:spMkLst>
        </pc:spChg>
        <pc:spChg chg="mod">
          <ac:chgData name="Md Fahim Hasan" userId="92968fce-d4dd-4b9e-8635-66a07c9f98a7" providerId="ADAL" clId="{3A6F4128-6482-4C75-8C7D-220A75826C22}" dt="2023-07-20T15:46:31.592" v="8397" actId="1076"/>
          <ac:spMkLst>
            <pc:docMk/>
            <pc:sldMk cId="1118403182" sldId="2146846406"/>
            <ac:spMk id="11" creationId="{DF0F00DF-0893-8866-FE70-C4DEA8AA9BAF}"/>
          </ac:spMkLst>
        </pc:spChg>
        <pc:spChg chg="mod">
          <ac:chgData name="Md Fahim Hasan" userId="92968fce-d4dd-4b9e-8635-66a07c9f98a7" providerId="ADAL" clId="{3A6F4128-6482-4C75-8C7D-220A75826C22}" dt="2023-07-20T15:46:21.457" v="8395" actId="20577"/>
          <ac:spMkLst>
            <pc:docMk/>
            <pc:sldMk cId="1118403182" sldId="2146846406"/>
            <ac:spMk id="12" creationId="{3D9AEB3F-97A4-58D7-EBA2-A315915EA8D1}"/>
          </ac:spMkLst>
        </pc:spChg>
        <pc:spChg chg="mod">
          <ac:chgData name="Md Fahim Hasan" userId="92968fce-d4dd-4b9e-8635-66a07c9f98a7" providerId="ADAL" clId="{3A6F4128-6482-4C75-8C7D-220A75826C22}" dt="2023-07-20T15:51:46.319" v="8473" actId="20577"/>
          <ac:spMkLst>
            <pc:docMk/>
            <pc:sldMk cId="1118403182" sldId="2146846406"/>
            <ac:spMk id="14" creationId="{4199DBE8-63F3-4383-0991-511B562001EC}"/>
          </ac:spMkLst>
        </pc:spChg>
        <pc:spChg chg="mod">
          <ac:chgData name="Md Fahim Hasan" userId="92968fce-d4dd-4b9e-8635-66a07c9f98a7" providerId="ADAL" clId="{3A6F4128-6482-4C75-8C7D-220A75826C22}" dt="2023-07-20T15:52:41.683" v="8482" actId="20577"/>
          <ac:spMkLst>
            <pc:docMk/>
            <pc:sldMk cId="1118403182" sldId="2146846406"/>
            <ac:spMk id="16" creationId="{AF6B1778-46F0-7230-0D81-AE00CA5D1F0B}"/>
          </ac:spMkLst>
        </pc:spChg>
        <pc:spChg chg="del">
          <ac:chgData name="Md Fahim Hasan" userId="92968fce-d4dd-4b9e-8635-66a07c9f98a7" providerId="ADAL" clId="{3A6F4128-6482-4C75-8C7D-220A75826C22}" dt="2023-07-20T15:52:46.558" v="8483" actId="478"/>
          <ac:spMkLst>
            <pc:docMk/>
            <pc:sldMk cId="1118403182" sldId="2146846406"/>
            <ac:spMk id="24" creationId="{312FCD35-EB4D-9F79-45E3-6EB5C1300883}"/>
          </ac:spMkLst>
        </pc:spChg>
        <pc:spChg chg="del">
          <ac:chgData name="Md Fahim Hasan" userId="92968fce-d4dd-4b9e-8635-66a07c9f98a7" providerId="ADAL" clId="{3A6F4128-6482-4C75-8C7D-220A75826C22}" dt="2023-07-20T15:52:50.196" v="8485" actId="478"/>
          <ac:spMkLst>
            <pc:docMk/>
            <pc:sldMk cId="1118403182" sldId="2146846406"/>
            <ac:spMk id="25" creationId="{6331F0C7-038D-0E2A-5858-D3D54C1648C5}"/>
          </ac:spMkLst>
        </pc:spChg>
        <pc:graphicFrameChg chg="del">
          <ac:chgData name="Md Fahim Hasan" userId="92968fce-d4dd-4b9e-8635-66a07c9f98a7" providerId="ADAL" clId="{3A6F4128-6482-4C75-8C7D-220A75826C22}" dt="2023-07-20T15:52:46.558" v="8483" actId="478"/>
          <ac:graphicFrameMkLst>
            <pc:docMk/>
            <pc:sldMk cId="1118403182" sldId="2146846406"/>
            <ac:graphicFrameMk id="15" creationId="{6A286ADB-6BBA-AA5A-C269-39346A7DFDC9}"/>
          </ac:graphicFrameMkLst>
        </pc:graphicFrameChg>
        <pc:cxnChg chg="add mod">
          <ac:chgData name="Md Fahim Hasan" userId="92968fce-d4dd-4b9e-8635-66a07c9f98a7" providerId="ADAL" clId="{3A6F4128-6482-4C75-8C7D-220A75826C22}" dt="2023-07-20T15:48:14.012" v="8458" actId="208"/>
          <ac:cxnSpMkLst>
            <pc:docMk/>
            <pc:sldMk cId="1118403182" sldId="2146846406"/>
            <ac:cxnSpMk id="13" creationId="{09B5032D-5947-FCB0-4493-7A867A3151F8}"/>
          </ac:cxnSpMkLst>
        </pc:cxnChg>
        <pc:cxnChg chg="mod">
          <ac:chgData name="Md Fahim Hasan" userId="92968fce-d4dd-4b9e-8635-66a07c9f98a7" providerId="ADAL" clId="{3A6F4128-6482-4C75-8C7D-220A75826C22}" dt="2023-07-20T15:46:26.892" v="8396" actId="1076"/>
          <ac:cxnSpMkLst>
            <pc:docMk/>
            <pc:sldMk cId="1118403182" sldId="2146846406"/>
            <ac:cxnSpMk id="45" creationId="{A259E9D6-EB57-7CE8-3E09-F814D6FDA759}"/>
          </ac:cxnSpMkLst>
        </pc:cxnChg>
        <pc:cxnChg chg="mod">
          <ac:chgData name="Md Fahim Hasan" userId="92968fce-d4dd-4b9e-8635-66a07c9f98a7" providerId="ADAL" clId="{3A6F4128-6482-4C75-8C7D-220A75826C22}" dt="2023-07-20T15:47:07.238" v="8450" actId="14100"/>
          <ac:cxnSpMkLst>
            <pc:docMk/>
            <pc:sldMk cId="1118403182" sldId="2146846406"/>
            <ac:cxnSpMk id="49" creationId="{25CC8F31-8381-3139-2F65-E44EA605221F}"/>
          </ac:cxnSpMkLst>
        </pc:cxnChg>
        <pc:cxnChg chg="del mod">
          <ac:chgData name="Md Fahim Hasan" userId="92968fce-d4dd-4b9e-8635-66a07c9f98a7" providerId="ADAL" clId="{3A6F4128-6482-4C75-8C7D-220A75826C22}" dt="2023-07-20T15:52:47.940" v="8484" actId="478"/>
          <ac:cxnSpMkLst>
            <pc:docMk/>
            <pc:sldMk cId="1118403182" sldId="2146846406"/>
            <ac:cxnSpMk id="58" creationId="{A179DABB-F0E5-5084-5145-7B33E5710F89}"/>
          </ac:cxnSpMkLst>
        </pc:cxnChg>
      </pc:sldChg>
      <pc:sldChg chg="addSp delSp modSp add mod delAnim modNotesTx">
        <pc:chgData name="Md Fahim Hasan" userId="92968fce-d4dd-4b9e-8635-66a07c9f98a7" providerId="ADAL" clId="{3A6F4128-6482-4C75-8C7D-220A75826C22}" dt="2023-07-27T17:43:44.139" v="37452" actId="20577"/>
        <pc:sldMkLst>
          <pc:docMk/>
          <pc:sldMk cId="3999969760" sldId="2146846407"/>
        </pc:sldMkLst>
        <pc:spChg chg="mod">
          <ac:chgData name="Md Fahim Hasan" userId="92968fce-d4dd-4b9e-8635-66a07c9f98a7" providerId="ADAL" clId="{3A6F4128-6482-4C75-8C7D-220A75826C22}" dt="2023-07-27T15:51:58.279" v="35706"/>
          <ac:spMkLst>
            <pc:docMk/>
            <pc:sldMk cId="3999969760" sldId="2146846407"/>
            <ac:spMk id="2" creationId="{3DAF1FF6-83BD-CD3F-ACA9-3847A49D49C3}"/>
          </ac:spMkLst>
        </pc:spChg>
        <pc:spChg chg="del">
          <ac:chgData name="Md Fahim Hasan" userId="92968fce-d4dd-4b9e-8635-66a07c9f98a7" providerId="ADAL" clId="{3A6F4128-6482-4C75-8C7D-220A75826C22}" dt="2023-07-20T15:53:28.106" v="8527" actId="478"/>
          <ac:spMkLst>
            <pc:docMk/>
            <pc:sldMk cId="3999969760" sldId="2146846407"/>
            <ac:spMk id="2" creationId="{5CA4440B-028E-4F88-3186-F24679B2C4C9}"/>
          </ac:spMkLst>
        </pc:spChg>
        <pc:spChg chg="add mod">
          <ac:chgData name="Md Fahim Hasan" userId="92968fce-d4dd-4b9e-8635-66a07c9f98a7" providerId="ADAL" clId="{3A6F4128-6482-4C75-8C7D-220A75826C22}" dt="2023-07-27T00:40:19.633" v="34063" actId="113"/>
          <ac:spMkLst>
            <pc:docMk/>
            <pc:sldMk cId="3999969760" sldId="2146846407"/>
            <ac:spMk id="3" creationId="{A9B6433A-3584-BD51-F3B5-89DCB9E2F96D}"/>
          </ac:spMkLst>
        </pc:spChg>
        <pc:spChg chg="del">
          <ac:chgData name="Md Fahim Hasan" userId="92968fce-d4dd-4b9e-8635-66a07c9f98a7" providerId="ADAL" clId="{3A6F4128-6482-4C75-8C7D-220A75826C22}" dt="2023-07-20T15:53:28.106" v="8527" actId="478"/>
          <ac:spMkLst>
            <pc:docMk/>
            <pc:sldMk cId="3999969760" sldId="2146846407"/>
            <ac:spMk id="4" creationId="{9BBBEEA8-01ED-B542-9A63-9A69DC65E6BA}"/>
          </ac:spMkLst>
        </pc:spChg>
        <pc:spChg chg="add mod">
          <ac:chgData name="Md Fahim Hasan" userId="92968fce-d4dd-4b9e-8635-66a07c9f98a7" providerId="ADAL" clId="{3A6F4128-6482-4C75-8C7D-220A75826C22}" dt="2023-07-27T00:44:51.336" v="34477" actId="1037"/>
          <ac:spMkLst>
            <pc:docMk/>
            <pc:sldMk cId="3999969760" sldId="2146846407"/>
            <ac:spMk id="5" creationId="{54743D17-A5AC-78AC-4269-DC8CCBE26C14}"/>
          </ac:spMkLst>
        </pc:spChg>
        <pc:spChg chg="del">
          <ac:chgData name="Md Fahim Hasan" userId="92968fce-d4dd-4b9e-8635-66a07c9f98a7" providerId="ADAL" clId="{3A6F4128-6482-4C75-8C7D-220A75826C22}" dt="2023-07-20T15:53:29.940" v="8528" actId="478"/>
          <ac:spMkLst>
            <pc:docMk/>
            <pc:sldMk cId="3999969760" sldId="2146846407"/>
            <ac:spMk id="5" creationId="{FBF989BE-2FC9-C908-243D-DA2D7ECAB17C}"/>
          </ac:spMkLst>
        </pc:spChg>
        <pc:spChg chg="add mod">
          <ac:chgData name="Md Fahim Hasan" userId="92968fce-d4dd-4b9e-8635-66a07c9f98a7" providerId="ADAL" clId="{3A6F4128-6482-4C75-8C7D-220A75826C22}" dt="2023-07-27T00:44:51.336" v="34477" actId="1037"/>
          <ac:spMkLst>
            <pc:docMk/>
            <pc:sldMk cId="3999969760" sldId="2146846407"/>
            <ac:spMk id="6" creationId="{26A6E82C-D720-1EE2-53BC-CEC07024E9CA}"/>
          </ac:spMkLst>
        </pc:spChg>
        <pc:spChg chg="del">
          <ac:chgData name="Md Fahim Hasan" userId="92968fce-d4dd-4b9e-8635-66a07c9f98a7" providerId="ADAL" clId="{3A6F4128-6482-4C75-8C7D-220A75826C22}" dt="2023-07-20T15:53:28.106" v="8527" actId="478"/>
          <ac:spMkLst>
            <pc:docMk/>
            <pc:sldMk cId="3999969760" sldId="2146846407"/>
            <ac:spMk id="6" creationId="{E9090D9C-F1FA-CA30-D8D9-B93C832FDBD4}"/>
          </ac:spMkLst>
        </pc:spChg>
        <pc:spChg chg="add mod">
          <ac:chgData name="Md Fahim Hasan" userId="92968fce-d4dd-4b9e-8635-66a07c9f98a7" providerId="ADAL" clId="{3A6F4128-6482-4C75-8C7D-220A75826C22}" dt="2023-07-27T01:00:58.094" v="34726" actId="1076"/>
          <ac:spMkLst>
            <pc:docMk/>
            <pc:sldMk cId="3999969760" sldId="2146846407"/>
            <ac:spMk id="7" creationId="{75F947B2-123B-E347-59AC-F0AB539999A7}"/>
          </ac:spMkLst>
        </pc:spChg>
        <pc:spChg chg="del">
          <ac:chgData name="Md Fahim Hasan" userId="92968fce-d4dd-4b9e-8635-66a07c9f98a7" providerId="ADAL" clId="{3A6F4128-6482-4C75-8C7D-220A75826C22}" dt="2023-07-20T15:53:28.106" v="8527" actId="478"/>
          <ac:spMkLst>
            <pc:docMk/>
            <pc:sldMk cId="3999969760" sldId="2146846407"/>
            <ac:spMk id="7" creationId="{7F1CBD92-5668-8534-F13F-9951672B7FA1}"/>
          </ac:spMkLst>
        </pc:spChg>
        <pc:spChg chg="del">
          <ac:chgData name="Md Fahim Hasan" userId="92968fce-d4dd-4b9e-8635-66a07c9f98a7" providerId="ADAL" clId="{3A6F4128-6482-4C75-8C7D-220A75826C22}" dt="2023-07-20T15:53:28.106" v="8527" actId="478"/>
          <ac:spMkLst>
            <pc:docMk/>
            <pc:sldMk cId="3999969760" sldId="2146846407"/>
            <ac:spMk id="8" creationId="{130E9D39-7572-D5EE-8C78-7FDFC7B77798}"/>
          </ac:spMkLst>
        </pc:spChg>
        <pc:spChg chg="mod">
          <ac:chgData name="Md Fahim Hasan" userId="92968fce-d4dd-4b9e-8635-66a07c9f98a7" providerId="ADAL" clId="{3A6F4128-6482-4C75-8C7D-220A75826C22}" dt="2023-07-27T15:18:38.635" v="35634" actId="6549"/>
          <ac:spMkLst>
            <pc:docMk/>
            <pc:sldMk cId="3999969760" sldId="2146846407"/>
            <ac:spMk id="9" creationId="{DCE765C9-F866-A10C-05BC-B0F5CF7D4FA9}"/>
          </ac:spMkLst>
        </pc:spChg>
        <pc:spChg chg="del">
          <ac:chgData name="Md Fahim Hasan" userId="92968fce-d4dd-4b9e-8635-66a07c9f98a7" providerId="ADAL" clId="{3A6F4128-6482-4C75-8C7D-220A75826C22}" dt="2023-07-20T15:53:28.106" v="8527" actId="478"/>
          <ac:spMkLst>
            <pc:docMk/>
            <pc:sldMk cId="3999969760" sldId="2146846407"/>
            <ac:spMk id="11" creationId="{DF0F00DF-0893-8866-FE70-C4DEA8AA9BAF}"/>
          </ac:spMkLst>
        </pc:spChg>
        <pc:spChg chg="del">
          <ac:chgData name="Md Fahim Hasan" userId="92968fce-d4dd-4b9e-8635-66a07c9f98a7" providerId="ADAL" clId="{3A6F4128-6482-4C75-8C7D-220A75826C22}" dt="2023-07-20T15:53:28.106" v="8527" actId="478"/>
          <ac:spMkLst>
            <pc:docMk/>
            <pc:sldMk cId="3999969760" sldId="2146846407"/>
            <ac:spMk id="12" creationId="{3D9AEB3F-97A4-58D7-EBA2-A315915EA8D1}"/>
          </ac:spMkLst>
        </pc:spChg>
        <pc:spChg chg="del">
          <ac:chgData name="Md Fahim Hasan" userId="92968fce-d4dd-4b9e-8635-66a07c9f98a7" providerId="ADAL" clId="{3A6F4128-6482-4C75-8C7D-220A75826C22}" dt="2023-07-20T15:53:28.106" v="8527" actId="478"/>
          <ac:spMkLst>
            <pc:docMk/>
            <pc:sldMk cId="3999969760" sldId="2146846407"/>
            <ac:spMk id="14" creationId="{4199DBE8-63F3-4383-0991-511B562001EC}"/>
          </ac:spMkLst>
        </pc:spChg>
        <pc:spChg chg="del">
          <ac:chgData name="Md Fahim Hasan" userId="92968fce-d4dd-4b9e-8635-66a07c9f98a7" providerId="ADAL" clId="{3A6F4128-6482-4C75-8C7D-220A75826C22}" dt="2023-07-20T15:53:28.106" v="8527" actId="478"/>
          <ac:spMkLst>
            <pc:docMk/>
            <pc:sldMk cId="3999969760" sldId="2146846407"/>
            <ac:spMk id="16" creationId="{AF6B1778-46F0-7230-0D81-AE00CA5D1F0B}"/>
          </ac:spMkLst>
        </pc:spChg>
        <pc:spChg chg="del">
          <ac:chgData name="Md Fahim Hasan" userId="92968fce-d4dd-4b9e-8635-66a07c9f98a7" providerId="ADAL" clId="{3A6F4128-6482-4C75-8C7D-220A75826C22}" dt="2023-07-20T15:53:28.106" v="8527" actId="478"/>
          <ac:spMkLst>
            <pc:docMk/>
            <pc:sldMk cId="3999969760" sldId="2146846407"/>
            <ac:spMk id="17" creationId="{31191FEE-0621-A450-9501-BCDCA0F9CB2A}"/>
          </ac:spMkLst>
        </pc:spChg>
        <pc:spChg chg="del">
          <ac:chgData name="Md Fahim Hasan" userId="92968fce-d4dd-4b9e-8635-66a07c9f98a7" providerId="ADAL" clId="{3A6F4128-6482-4C75-8C7D-220A75826C22}" dt="2023-07-20T15:53:28.106" v="8527" actId="478"/>
          <ac:spMkLst>
            <pc:docMk/>
            <pc:sldMk cId="3999969760" sldId="2146846407"/>
            <ac:spMk id="23" creationId="{2BCC28C0-026C-B498-DCFA-DD6BDE07E20F}"/>
          </ac:spMkLst>
        </pc:spChg>
        <pc:picChg chg="mod">
          <ac:chgData name="Md Fahim Hasan" userId="92968fce-d4dd-4b9e-8635-66a07c9f98a7" providerId="ADAL" clId="{3A6F4128-6482-4C75-8C7D-220A75826C22}" dt="2023-07-26T23:13:34.807" v="30922" actId="1076"/>
          <ac:picMkLst>
            <pc:docMk/>
            <pc:sldMk cId="3999969760" sldId="2146846407"/>
            <ac:picMk id="4" creationId="{7CF91639-33AC-BDDD-0224-6D11C4B0C940}"/>
          </ac:picMkLst>
        </pc:picChg>
        <pc:picChg chg="mod">
          <ac:chgData name="Md Fahim Hasan" userId="92968fce-d4dd-4b9e-8635-66a07c9f98a7" providerId="ADAL" clId="{3A6F4128-6482-4C75-8C7D-220A75826C22}" dt="2023-07-27T00:44:51.336" v="34477" actId="1037"/>
          <ac:picMkLst>
            <pc:docMk/>
            <pc:sldMk cId="3999969760" sldId="2146846407"/>
            <ac:picMk id="1026" creationId="{EFAF2E77-8CEC-C19A-2F55-F19157E9D271}"/>
          </ac:picMkLst>
        </pc:picChg>
        <pc:picChg chg="mod">
          <ac:chgData name="Md Fahim Hasan" userId="92968fce-d4dd-4b9e-8635-66a07c9f98a7" providerId="ADAL" clId="{3A6F4128-6482-4C75-8C7D-220A75826C22}" dt="2023-07-27T00:44:51.336" v="34477" actId="1037"/>
          <ac:picMkLst>
            <pc:docMk/>
            <pc:sldMk cId="3999969760" sldId="2146846407"/>
            <ac:picMk id="1028" creationId="{FA4DE5DB-293A-BB1F-C2A6-80419B433D04}"/>
          </ac:picMkLst>
        </pc:picChg>
        <pc:cxnChg chg="del mod">
          <ac:chgData name="Md Fahim Hasan" userId="92968fce-d4dd-4b9e-8635-66a07c9f98a7" providerId="ADAL" clId="{3A6F4128-6482-4C75-8C7D-220A75826C22}" dt="2023-07-20T15:53:28.106" v="8527" actId="478"/>
          <ac:cxnSpMkLst>
            <pc:docMk/>
            <pc:sldMk cId="3999969760" sldId="2146846407"/>
            <ac:cxnSpMk id="13" creationId="{09B5032D-5947-FCB0-4493-7A867A3151F8}"/>
          </ac:cxnSpMkLst>
        </pc:cxnChg>
        <pc:cxnChg chg="del mod">
          <ac:chgData name="Md Fahim Hasan" userId="92968fce-d4dd-4b9e-8635-66a07c9f98a7" providerId="ADAL" clId="{3A6F4128-6482-4C75-8C7D-220A75826C22}" dt="2023-07-20T15:53:28.106" v="8527" actId="478"/>
          <ac:cxnSpMkLst>
            <pc:docMk/>
            <pc:sldMk cId="3999969760" sldId="2146846407"/>
            <ac:cxnSpMk id="39" creationId="{02AF00EA-2876-8D8A-EBDA-74C62DE65DD0}"/>
          </ac:cxnSpMkLst>
        </pc:cxnChg>
        <pc:cxnChg chg="del mod">
          <ac:chgData name="Md Fahim Hasan" userId="92968fce-d4dd-4b9e-8635-66a07c9f98a7" providerId="ADAL" clId="{3A6F4128-6482-4C75-8C7D-220A75826C22}" dt="2023-07-20T15:53:28.106" v="8527" actId="478"/>
          <ac:cxnSpMkLst>
            <pc:docMk/>
            <pc:sldMk cId="3999969760" sldId="2146846407"/>
            <ac:cxnSpMk id="40" creationId="{B38667B8-2749-93A0-FCA9-9063F8CF7E76}"/>
          </ac:cxnSpMkLst>
        </pc:cxnChg>
        <pc:cxnChg chg="del mod">
          <ac:chgData name="Md Fahim Hasan" userId="92968fce-d4dd-4b9e-8635-66a07c9f98a7" providerId="ADAL" clId="{3A6F4128-6482-4C75-8C7D-220A75826C22}" dt="2023-07-20T15:53:28.106" v="8527" actId="478"/>
          <ac:cxnSpMkLst>
            <pc:docMk/>
            <pc:sldMk cId="3999969760" sldId="2146846407"/>
            <ac:cxnSpMk id="45" creationId="{A259E9D6-EB57-7CE8-3E09-F814D6FDA759}"/>
          </ac:cxnSpMkLst>
        </pc:cxnChg>
        <pc:cxnChg chg="del mod">
          <ac:chgData name="Md Fahim Hasan" userId="92968fce-d4dd-4b9e-8635-66a07c9f98a7" providerId="ADAL" clId="{3A6F4128-6482-4C75-8C7D-220A75826C22}" dt="2023-07-20T15:53:28.106" v="8527" actId="478"/>
          <ac:cxnSpMkLst>
            <pc:docMk/>
            <pc:sldMk cId="3999969760" sldId="2146846407"/>
            <ac:cxnSpMk id="49" creationId="{25CC8F31-8381-3139-2F65-E44EA605221F}"/>
          </ac:cxnSpMkLst>
        </pc:cxnChg>
      </pc:sldChg>
      <pc:sldChg chg="addSp delSp modSp add del mod ord setBg modAnim modCm modNotesTx">
        <pc:chgData name="Md Fahim Hasan" userId="92968fce-d4dd-4b9e-8635-66a07c9f98a7" providerId="ADAL" clId="{3A6F4128-6482-4C75-8C7D-220A75826C22}" dt="2023-07-26T18:06:39.821" v="22923" actId="2696"/>
        <pc:sldMkLst>
          <pc:docMk/>
          <pc:sldMk cId="1472277841" sldId="2146846408"/>
        </pc:sldMkLst>
        <pc:spChg chg="add del mod">
          <ac:chgData name="Md Fahim Hasan" userId="92968fce-d4dd-4b9e-8635-66a07c9f98a7" providerId="ADAL" clId="{3A6F4128-6482-4C75-8C7D-220A75826C22}" dt="2023-07-25T20:52:53.246" v="20760" actId="478"/>
          <ac:spMkLst>
            <pc:docMk/>
            <pc:sldMk cId="1472277841" sldId="2146846408"/>
            <ac:spMk id="2" creationId="{90C96AA1-6C12-6623-0754-4E4DD20BEE5B}"/>
          </ac:spMkLst>
        </pc:spChg>
        <pc:spChg chg="add del mod">
          <ac:chgData name="Md Fahim Hasan" userId="92968fce-d4dd-4b9e-8635-66a07c9f98a7" providerId="ADAL" clId="{3A6F4128-6482-4C75-8C7D-220A75826C22}" dt="2023-07-25T21:04:15.409" v="21043" actId="26606"/>
          <ac:spMkLst>
            <pc:docMk/>
            <pc:sldMk cId="1472277841" sldId="2146846408"/>
            <ac:spMk id="3" creationId="{CD848677-760A-76BD-3CD9-CFD89965D462}"/>
          </ac:spMkLst>
        </pc:spChg>
        <pc:spChg chg="add del">
          <ac:chgData name="Md Fahim Hasan" userId="92968fce-d4dd-4b9e-8635-66a07c9f98a7" providerId="ADAL" clId="{3A6F4128-6482-4C75-8C7D-220A75826C22}" dt="2023-07-25T20:55:35.763" v="20766" actId="478"/>
          <ac:spMkLst>
            <pc:docMk/>
            <pc:sldMk cId="1472277841" sldId="2146846408"/>
            <ac:spMk id="6" creationId="{6205F78A-3EBE-BE3F-1846-62A2F956B4B0}"/>
          </ac:spMkLst>
        </pc:spChg>
        <pc:spChg chg="add del">
          <ac:chgData name="Md Fahim Hasan" userId="92968fce-d4dd-4b9e-8635-66a07c9f98a7" providerId="ADAL" clId="{3A6F4128-6482-4C75-8C7D-220A75826C22}" dt="2023-07-25T20:55:35.763" v="20766" actId="478"/>
          <ac:spMkLst>
            <pc:docMk/>
            <pc:sldMk cId="1472277841" sldId="2146846408"/>
            <ac:spMk id="7" creationId="{72ECC0E0-7197-AA3F-131F-5E088B6EC931}"/>
          </ac:spMkLst>
        </pc:spChg>
        <pc:spChg chg="add del">
          <ac:chgData name="Md Fahim Hasan" userId="92968fce-d4dd-4b9e-8635-66a07c9f98a7" providerId="ADAL" clId="{3A6F4128-6482-4C75-8C7D-220A75826C22}" dt="2023-07-25T20:55:35.763" v="20766" actId="478"/>
          <ac:spMkLst>
            <pc:docMk/>
            <pc:sldMk cId="1472277841" sldId="2146846408"/>
            <ac:spMk id="8" creationId="{ECE8581D-9800-4DDB-D3A0-7B75B8FB1B46}"/>
          </ac:spMkLst>
        </pc:spChg>
        <pc:spChg chg="mod">
          <ac:chgData name="Md Fahim Hasan" userId="92968fce-d4dd-4b9e-8635-66a07c9f98a7" providerId="ADAL" clId="{3A6F4128-6482-4C75-8C7D-220A75826C22}" dt="2023-07-25T21:05:25.066" v="21056" actId="1076"/>
          <ac:spMkLst>
            <pc:docMk/>
            <pc:sldMk cId="1472277841" sldId="2146846408"/>
            <ac:spMk id="9" creationId="{DCE765C9-F866-A10C-05BC-B0F5CF7D4FA9}"/>
          </ac:spMkLst>
        </pc:spChg>
        <pc:spChg chg="add del">
          <ac:chgData name="Md Fahim Hasan" userId="92968fce-d4dd-4b9e-8635-66a07c9f98a7" providerId="ADAL" clId="{3A6F4128-6482-4C75-8C7D-220A75826C22}" dt="2023-07-25T20:55:35.763" v="20766" actId="478"/>
          <ac:spMkLst>
            <pc:docMk/>
            <pc:sldMk cId="1472277841" sldId="2146846408"/>
            <ac:spMk id="10" creationId="{7AE5803D-2B8D-47BB-A12F-C85D3779021D}"/>
          </ac:spMkLst>
        </pc:spChg>
        <pc:spChg chg="add mod">
          <ac:chgData name="Md Fahim Hasan" userId="92968fce-d4dd-4b9e-8635-66a07c9f98a7" providerId="ADAL" clId="{3A6F4128-6482-4C75-8C7D-220A75826C22}" dt="2023-07-25T21:09:59.939" v="21086" actId="1076"/>
          <ac:spMkLst>
            <pc:docMk/>
            <pc:sldMk cId="1472277841" sldId="2146846408"/>
            <ac:spMk id="16" creationId="{1B10CDD7-504B-1C05-A4E1-1590360071E2}"/>
          </ac:spMkLst>
        </pc:spChg>
        <pc:spChg chg="add del">
          <ac:chgData name="Md Fahim Hasan" userId="92968fce-d4dd-4b9e-8635-66a07c9f98a7" providerId="ADAL" clId="{3A6F4128-6482-4C75-8C7D-220A75826C22}" dt="2023-07-25T20:55:35.763" v="20766" actId="478"/>
          <ac:spMkLst>
            <pc:docMk/>
            <pc:sldMk cId="1472277841" sldId="2146846408"/>
            <ac:spMk id="18" creationId="{AC3CBFA3-7FA8-85D5-7DE8-59D405D204C9}"/>
          </ac:spMkLst>
        </pc:spChg>
        <pc:spChg chg="add del">
          <ac:chgData name="Md Fahim Hasan" userId="92968fce-d4dd-4b9e-8635-66a07c9f98a7" providerId="ADAL" clId="{3A6F4128-6482-4C75-8C7D-220A75826C22}" dt="2023-07-25T20:55:35.763" v="20766" actId="478"/>
          <ac:spMkLst>
            <pc:docMk/>
            <pc:sldMk cId="1472277841" sldId="2146846408"/>
            <ac:spMk id="19" creationId="{9A33764A-9917-A07B-92E1-E66FD52A4CA8}"/>
          </ac:spMkLst>
        </pc:spChg>
        <pc:spChg chg="add del">
          <ac:chgData name="Md Fahim Hasan" userId="92968fce-d4dd-4b9e-8635-66a07c9f98a7" providerId="ADAL" clId="{3A6F4128-6482-4C75-8C7D-220A75826C22}" dt="2023-07-25T20:55:35.763" v="20766" actId="478"/>
          <ac:spMkLst>
            <pc:docMk/>
            <pc:sldMk cId="1472277841" sldId="2146846408"/>
            <ac:spMk id="20" creationId="{1A58CBB7-A824-507D-EDB4-6203731FB829}"/>
          </ac:spMkLst>
        </pc:spChg>
        <pc:spChg chg="add del">
          <ac:chgData name="Md Fahim Hasan" userId="92968fce-d4dd-4b9e-8635-66a07c9f98a7" providerId="ADAL" clId="{3A6F4128-6482-4C75-8C7D-220A75826C22}" dt="2023-07-25T20:55:35.763" v="20766" actId="478"/>
          <ac:spMkLst>
            <pc:docMk/>
            <pc:sldMk cId="1472277841" sldId="2146846408"/>
            <ac:spMk id="21" creationId="{10711508-E5D8-8433-608C-8A0442536AA0}"/>
          </ac:spMkLst>
        </pc:spChg>
        <pc:spChg chg="add del">
          <ac:chgData name="Md Fahim Hasan" userId="92968fce-d4dd-4b9e-8635-66a07c9f98a7" providerId="ADAL" clId="{3A6F4128-6482-4C75-8C7D-220A75826C22}" dt="2023-07-25T20:55:35.763" v="20766" actId="478"/>
          <ac:spMkLst>
            <pc:docMk/>
            <pc:sldMk cId="1472277841" sldId="2146846408"/>
            <ac:spMk id="22" creationId="{04D66BED-2E2E-6C69-3EB8-91924493A7F4}"/>
          </ac:spMkLst>
        </pc:spChg>
        <pc:spChg chg="add del">
          <ac:chgData name="Md Fahim Hasan" userId="92968fce-d4dd-4b9e-8635-66a07c9f98a7" providerId="ADAL" clId="{3A6F4128-6482-4C75-8C7D-220A75826C22}" dt="2023-07-25T20:55:35.763" v="20766" actId="478"/>
          <ac:spMkLst>
            <pc:docMk/>
            <pc:sldMk cId="1472277841" sldId="2146846408"/>
            <ac:spMk id="23" creationId="{4FA4E587-8557-4C2C-33FA-2D504E9E0022}"/>
          </ac:spMkLst>
        </pc:spChg>
        <pc:spChg chg="add del">
          <ac:chgData name="Md Fahim Hasan" userId="92968fce-d4dd-4b9e-8635-66a07c9f98a7" providerId="ADAL" clId="{3A6F4128-6482-4C75-8C7D-220A75826C22}" dt="2023-07-25T20:55:35.763" v="20766" actId="478"/>
          <ac:spMkLst>
            <pc:docMk/>
            <pc:sldMk cId="1472277841" sldId="2146846408"/>
            <ac:spMk id="24" creationId="{0336DF13-A7D7-E236-F05F-883A26A906F8}"/>
          </ac:spMkLst>
        </pc:spChg>
        <pc:spChg chg="add del">
          <ac:chgData name="Md Fahim Hasan" userId="92968fce-d4dd-4b9e-8635-66a07c9f98a7" providerId="ADAL" clId="{3A6F4128-6482-4C75-8C7D-220A75826C22}" dt="2023-07-25T20:55:35.763" v="20766" actId="478"/>
          <ac:spMkLst>
            <pc:docMk/>
            <pc:sldMk cId="1472277841" sldId="2146846408"/>
            <ac:spMk id="25" creationId="{3A0BA5D7-145C-A133-5207-240BB0E7C960}"/>
          </ac:spMkLst>
        </pc:spChg>
        <pc:spChg chg="add del">
          <ac:chgData name="Md Fahim Hasan" userId="92968fce-d4dd-4b9e-8635-66a07c9f98a7" providerId="ADAL" clId="{3A6F4128-6482-4C75-8C7D-220A75826C22}" dt="2023-07-25T20:55:35.763" v="20766" actId="478"/>
          <ac:spMkLst>
            <pc:docMk/>
            <pc:sldMk cId="1472277841" sldId="2146846408"/>
            <ac:spMk id="26" creationId="{77E6E9CB-1D46-4F29-96F4-91A9AA5483D1}"/>
          </ac:spMkLst>
        </pc:spChg>
        <pc:spChg chg="add mod">
          <ac:chgData name="Md Fahim Hasan" userId="92968fce-d4dd-4b9e-8635-66a07c9f98a7" providerId="ADAL" clId="{3A6F4128-6482-4C75-8C7D-220A75826C22}" dt="2023-07-25T21:10:16.938" v="21094" actId="1036"/>
          <ac:spMkLst>
            <pc:docMk/>
            <pc:sldMk cId="1472277841" sldId="2146846408"/>
            <ac:spMk id="27" creationId="{3D06C40A-A0F5-6376-063E-518E3CA29771}"/>
          </ac:spMkLst>
        </pc:spChg>
        <pc:spChg chg="add mod">
          <ac:chgData name="Md Fahim Hasan" userId="92968fce-d4dd-4b9e-8635-66a07c9f98a7" providerId="ADAL" clId="{3A6F4128-6482-4C75-8C7D-220A75826C22}" dt="2023-07-25T21:09:55.872" v="21085" actId="1076"/>
          <ac:spMkLst>
            <pc:docMk/>
            <pc:sldMk cId="1472277841" sldId="2146846408"/>
            <ac:spMk id="28" creationId="{3481FD7F-0A3C-C3F2-E212-06D782EF337B}"/>
          </ac:spMkLst>
        </pc:spChg>
        <pc:spChg chg="add mod">
          <ac:chgData name="Md Fahim Hasan" userId="92968fce-d4dd-4b9e-8635-66a07c9f98a7" providerId="ADAL" clId="{3A6F4128-6482-4C75-8C7D-220A75826C22}" dt="2023-07-25T21:10:15.298" v="21090" actId="1036"/>
          <ac:spMkLst>
            <pc:docMk/>
            <pc:sldMk cId="1472277841" sldId="2146846408"/>
            <ac:spMk id="29" creationId="{F11D93C6-7A0E-5736-A537-81CF1CD2CEF1}"/>
          </ac:spMkLst>
        </pc:spChg>
        <pc:spChg chg="add del">
          <ac:chgData name="Md Fahim Hasan" userId="92968fce-d4dd-4b9e-8635-66a07c9f98a7" providerId="ADAL" clId="{3A6F4128-6482-4C75-8C7D-220A75826C22}" dt="2023-07-25T21:04:12.330" v="21039" actId="26606"/>
          <ac:spMkLst>
            <pc:docMk/>
            <pc:sldMk cId="1472277841" sldId="2146846408"/>
            <ac:spMk id="31" creationId="{AB8C311F-7253-4AED-9701-7FC0708C41C7}"/>
          </ac:spMkLst>
        </pc:spChg>
        <pc:spChg chg="add del">
          <ac:chgData name="Md Fahim Hasan" userId="92968fce-d4dd-4b9e-8635-66a07c9f98a7" providerId="ADAL" clId="{3A6F4128-6482-4C75-8C7D-220A75826C22}" dt="2023-07-25T21:04:12.330" v="21039" actId="26606"/>
          <ac:spMkLst>
            <pc:docMk/>
            <pc:sldMk cId="1472277841" sldId="2146846408"/>
            <ac:spMk id="32" creationId="{E2384209-CB15-4CDF-9D31-C44FD9A3F20D}"/>
          </ac:spMkLst>
        </pc:spChg>
        <pc:spChg chg="add del">
          <ac:chgData name="Md Fahim Hasan" userId="92968fce-d4dd-4b9e-8635-66a07c9f98a7" providerId="ADAL" clId="{3A6F4128-6482-4C75-8C7D-220A75826C22}" dt="2023-07-25T21:04:12.330" v="21039" actId="26606"/>
          <ac:spMkLst>
            <pc:docMk/>
            <pc:sldMk cId="1472277841" sldId="2146846408"/>
            <ac:spMk id="33" creationId="{2633B3B5-CC90-43F0-8714-D31D1F3F0209}"/>
          </ac:spMkLst>
        </pc:spChg>
        <pc:spChg chg="add del">
          <ac:chgData name="Md Fahim Hasan" userId="92968fce-d4dd-4b9e-8635-66a07c9f98a7" providerId="ADAL" clId="{3A6F4128-6482-4C75-8C7D-220A75826C22}" dt="2023-07-25T21:03:29.005" v="21021" actId="26606"/>
          <ac:spMkLst>
            <pc:docMk/>
            <pc:sldMk cId="1472277841" sldId="2146846408"/>
            <ac:spMk id="34" creationId="{BACC6370-2D7E-4714-9D71-7542949D7D5D}"/>
          </ac:spMkLst>
        </pc:spChg>
        <pc:spChg chg="add del">
          <ac:chgData name="Md Fahim Hasan" userId="92968fce-d4dd-4b9e-8635-66a07c9f98a7" providerId="ADAL" clId="{3A6F4128-6482-4C75-8C7D-220A75826C22}" dt="2023-07-25T21:04:12.330" v="21039" actId="26606"/>
          <ac:spMkLst>
            <pc:docMk/>
            <pc:sldMk cId="1472277841" sldId="2146846408"/>
            <ac:spMk id="35" creationId="{A8D57A06-A426-446D-B02C-A2DC6B62E45E}"/>
          </ac:spMkLst>
        </pc:spChg>
        <pc:spChg chg="add del">
          <ac:chgData name="Md Fahim Hasan" userId="92968fce-d4dd-4b9e-8635-66a07c9f98a7" providerId="ADAL" clId="{3A6F4128-6482-4C75-8C7D-220A75826C22}" dt="2023-07-25T21:03:29.005" v="21021" actId="26606"/>
          <ac:spMkLst>
            <pc:docMk/>
            <pc:sldMk cId="1472277841" sldId="2146846408"/>
            <ac:spMk id="36" creationId="{256B2C21-A230-48C0-8DF1-C46611373C44}"/>
          </ac:spMkLst>
        </pc:spChg>
        <pc:spChg chg="add del">
          <ac:chgData name="Md Fahim Hasan" userId="92968fce-d4dd-4b9e-8635-66a07c9f98a7" providerId="ADAL" clId="{3A6F4128-6482-4C75-8C7D-220A75826C22}" dt="2023-07-25T21:03:29.005" v="21021" actId="26606"/>
          <ac:spMkLst>
            <pc:docMk/>
            <pc:sldMk cId="1472277841" sldId="2146846408"/>
            <ac:spMk id="38" creationId="{3847E18C-932D-4C95-AABA-FEC7C9499AD7}"/>
          </ac:spMkLst>
        </pc:spChg>
        <pc:spChg chg="add del">
          <ac:chgData name="Md Fahim Hasan" userId="92968fce-d4dd-4b9e-8635-66a07c9f98a7" providerId="ADAL" clId="{3A6F4128-6482-4C75-8C7D-220A75826C22}" dt="2023-07-25T21:04:13.833" v="21041" actId="26606"/>
          <ac:spMkLst>
            <pc:docMk/>
            <pc:sldMk cId="1472277841" sldId="2146846408"/>
            <ac:spMk id="39" creationId="{86FF76B9-219D-4469-AF87-0236D29032F1}"/>
          </ac:spMkLst>
        </pc:spChg>
        <pc:spChg chg="add del">
          <ac:chgData name="Md Fahim Hasan" userId="92968fce-d4dd-4b9e-8635-66a07c9f98a7" providerId="ADAL" clId="{3A6F4128-6482-4C75-8C7D-220A75826C22}" dt="2023-07-25T21:03:29.005" v="21021" actId="26606"/>
          <ac:spMkLst>
            <pc:docMk/>
            <pc:sldMk cId="1472277841" sldId="2146846408"/>
            <ac:spMk id="40" creationId="{3150CB11-0C61-439E-910F-5787759E72A0}"/>
          </ac:spMkLst>
        </pc:spChg>
        <pc:spChg chg="add del">
          <ac:chgData name="Md Fahim Hasan" userId="92968fce-d4dd-4b9e-8635-66a07c9f98a7" providerId="ADAL" clId="{3A6F4128-6482-4C75-8C7D-220A75826C22}" dt="2023-07-25T21:03:29.005" v="21021" actId="26606"/>
          <ac:spMkLst>
            <pc:docMk/>
            <pc:sldMk cId="1472277841" sldId="2146846408"/>
            <ac:spMk id="42" creationId="{43F8A58B-5155-44CE-A5FF-7647B47D0A7A}"/>
          </ac:spMkLst>
        </pc:spChg>
        <pc:spChg chg="add del">
          <ac:chgData name="Md Fahim Hasan" userId="92968fce-d4dd-4b9e-8635-66a07c9f98a7" providerId="ADAL" clId="{3A6F4128-6482-4C75-8C7D-220A75826C22}" dt="2023-07-25T21:03:29.005" v="21021" actId="26606"/>
          <ac:spMkLst>
            <pc:docMk/>
            <pc:sldMk cId="1472277841" sldId="2146846408"/>
            <ac:spMk id="44" creationId="{443F2ACA-E6D6-4028-82DD-F03C262D5DE6}"/>
          </ac:spMkLst>
        </pc:spChg>
        <pc:spChg chg="add del">
          <ac:chgData name="Md Fahim Hasan" userId="92968fce-d4dd-4b9e-8635-66a07c9f98a7" providerId="ADAL" clId="{3A6F4128-6482-4C75-8C7D-220A75826C22}" dt="2023-07-25T21:04:13.833" v="21041" actId="26606"/>
          <ac:spMkLst>
            <pc:docMk/>
            <pc:sldMk cId="1472277841" sldId="2146846408"/>
            <ac:spMk id="45" creationId="{2E80C965-DB6D-4F81-9E9E-B027384D0BD6}"/>
          </ac:spMkLst>
        </pc:spChg>
        <pc:spChg chg="add del">
          <ac:chgData name="Md Fahim Hasan" userId="92968fce-d4dd-4b9e-8635-66a07c9f98a7" providerId="ADAL" clId="{3A6F4128-6482-4C75-8C7D-220A75826C22}" dt="2023-07-25T21:03:33.964" v="21023" actId="26606"/>
          <ac:spMkLst>
            <pc:docMk/>
            <pc:sldMk cId="1472277841" sldId="2146846408"/>
            <ac:spMk id="46" creationId="{7DA1F35B-C8F7-4A5A-9339-7DA4D785B300}"/>
          </ac:spMkLst>
        </pc:spChg>
        <pc:spChg chg="add del">
          <ac:chgData name="Md Fahim Hasan" userId="92968fce-d4dd-4b9e-8635-66a07c9f98a7" providerId="ADAL" clId="{3A6F4128-6482-4C75-8C7D-220A75826C22}" dt="2023-07-25T21:03:33.964" v="21023" actId="26606"/>
          <ac:spMkLst>
            <pc:docMk/>
            <pc:sldMk cId="1472277841" sldId="2146846408"/>
            <ac:spMk id="47" creationId="{B2D4AD41-40DA-4A81-92F5-B6E3BA1ED82A}"/>
          </ac:spMkLst>
        </pc:spChg>
        <pc:spChg chg="add del">
          <ac:chgData name="Md Fahim Hasan" userId="92968fce-d4dd-4b9e-8635-66a07c9f98a7" providerId="ADAL" clId="{3A6F4128-6482-4C75-8C7D-220A75826C22}" dt="2023-07-25T21:04:13.833" v="21041" actId="26606"/>
          <ac:spMkLst>
            <pc:docMk/>
            <pc:sldMk cId="1472277841" sldId="2146846408"/>
            <ac:spMk id="48" creationId="{633C5E46-DAC5-4661-9C87-22B08E2A512F}"/>
          </ac:spMkLst>
        </pc:spChg>
        <pc:spChg chg="add del">
          <ac:chgData name="Md Fahim Hasan" userId="92968fce-d4dd-4b9e-8635-66a07c9f98a7" providerId="ADAL" clId="{3A6F4128-6482-4C75-8C7D-220A75826C22}" dt="2023-07-25T21:03:36.317" v="21025" actId="26606"/>
          <ac:spMkLst>
            <pc:docMk/>
            <pc:sldMk cId="1472277841" sldId="2146846408"/>
            <ac:spMk id="49" creationId="{2659FDB4-FCBE-4A89-B46D-43D4FA54464D}"/>
          </ac:spMkLst>
        </pc:spChg>
        <pc:spChg chg="add del">
          <ac:chgData name="Md Fahim Hasan" userId="92968fce-d4dd-4b9e-8635-66a07c9f98a7" providerId="ADAL" clId="{3A6F4128-6482-4C75-8C7D-220A75826C22}" dt="2023-07-25T21:03:42.182" v="21027" actId="26606"/>
          <ac:spMkLst>
            <pc:docMk/>
            <pc:sldMk cId="1472277841" sldId="2146846408"/>
            <ac:spMk id="52" creationId="{AFF8D2E5-2C4E-47B1-930B-6C82B7C31331}"/>
          </ac:spMkLst>
        </pc:spChg>
        <pc:spChg chg="add del">
          <ac:chgData name="Md Fahim Hasan" userId="92968fce-d4dd-4b9e-8635-66a07c9f98a7" providerId="ADAL" clId="{3A6F4128-6482-4C75-8C7D-220A75826C22}" dt="2023-07-25T21:03:42.182" v="21027" actId="26606"/>
          <ac:spMkLst>
            <pc:docMk/>
            <pc:sldMk cId="1472277841" sldId="2146846408"/>
            <ac:spMk id="53" creationId="{801E4ADA-0EA9-4930-846E-3C11E8BED6DD}"/>
          </ac:spMkLst>
        </pc:spChg>
        <pc:spChg chg="add del">
          <ac:chgData name="Md Fahim Hasan" userId="92968fce-d4dd-4b9e-8635-66a07c9f98a7" providerId="ADAL" clId="{3A6F4128-6482-4C75-8C7D-220A75826C22}" dt="2023-07-25T21:03:42.182" v="21027" actId="26606"/>
          <ac:spMkLst>
            <pc:docMk/>
            <pc:sldMk cId="1472277841" sldId="2146846408"/>
            <ac:spMk id="54" creationId="{FB92FFCE-0C90-454E-AA25-D4EE9A6C39C5}"/>
          </ac:spMkLst>
        </pc:spChg>
        <pc:spChg chg="add mod ord">
          <ac:chgData name="Md Fahim Hasan" userId="92968fce-d4dd-4b9e-8635-66a07c9f98a7" providerId="ADAL" clId="{3A6F4128-6482-4C75-8C7D-220A75826C22}" dt="2023-07-25T21:05:17.624" v="21053" actId="2085"/>
          <ac:spMkLst>
            <pc:docMk/>
            <pc:sldMk cId="1472277841" sldId="2146846408"/>
            <ac:spMk id="55" creationId="{E5C7310A-3226-177F-2301-3DE6D935F21A}"/>
          </ac:spMkLst>
        </pc:spChg>
        <pc:spChg chg="add del">
          <ac:chgData name="Md Fahim Hasan" userId="92968fce-d4dd-4b9e-8635-66a07c9f98a7" providerId="ADAL" clId="{3A6F4128-6482-4C75-8C7D-220A75826C22}" dt="2023-07-25T21:03:43.758" v="21029" actId="26606"/>
          <ac:spMkLst>
            <pc:docMk/>
            <pc:sldMk cId="1472277841" sldId="2146846408"/>
            <ac:spMk id="56" creationId="{738F59A4-4431-460D-8E49-6E65C189A566}"/>
          </ac:spMkLst>
        </pc:spChg>
        <pc:spChg chg="add del">
          <ac:chgData name="Md Fahim Hasan" userId="92968fce-d4dd-4b9e-8635-66a07c9f98a7" providerId="ADAL" clId="{3A6F4128-6482-4C75-8C7D-220A75826C22}" dt="2023-07-25T21:03:47.978" v="21031" actId="26606"/>
          <ac:spMkLst>
            <pc:docMk/>
            <pc:sldMk cId="1472277841" sldId="2146846408"/>
            <ac:spMk id="60" creationId="{DA8886A6-5426-494B-96D8-D962D2BA0818}"/>
          </ac:spMkLst>
        </pc:spChg>
        <pc:spChg chg="add del">
          <ac:chgData name="Md Fahim Hasan" userId="92968fce-d4dd-4b9e-8635-66a07c9f98a7" providerId="ADAL" clId="{3A6F4128-6482-4C75-8C7D-220A75826C22}" dt="2023-07-25T21:03:47.978" v="21031" actId="26606"/>
          <ac:spMkLst>
            <pc:docMk/>
            <pc:sldMk cId="1472277841" sldId="2146846408"/>
            <ac:spMk id="61" creationId="{AA3ED336-C09E-46E8-9774-B977D15FC5E0}"/>
          </ac:spMkLst>
        </pc:spChg>
        <pc:spChg chg="add del">
          <ac:chgData name="Md Fahim Hasan" userId="92968fce-d4dd-4b9e-8635-66a07c9f98a7" providerId="ADAL" clId="{3A6F4128-6482-4C75-8C7D-220A75826C22}" dt="2023-07-25T21:06:36.554" v="21065" actId="478"/>
          <ac:spMkLst>
            <pc:docMk/>
            <pc:sldMk cId="1472277841" sldId="2146846408"/>
            <ac:spMk id="67" creationId="{11EFA2D4-1247-C406-D06C-6A5594CB5A25}"/>
          </ac:spMkLst>
        </pc:spChg>
        <pc:spChg chg="add mod ord">
          <ac:chgData name="Md Fahim Hasan" userId="92968fce-d4dd-4b9e-8635-66a07c9f98a7" providerId="ADAL" clId="{3A6F4128-6482-4C75-8C7D-220A75826C22}" dt="2023-07-25T21:11:38.107" v="21107" actId="1582"/>
          <ac:spMkLst>
            <pc:docMk/>
            <pc:sldMk cId="1472277841" sldId="2146846408"/>
            <ac:spMk id="76" creationId="{92C4EE77-FE88-166F-8FBC-34CBAAD6B816}"/>
          </ac:spMkLst>
        </pc:spChg>
        <pc:grpChg chg="add del">
          <ac:chgData name="Md Fahim Hasan" userId="92968fce-d4dd-4b9e-8635-66a07c9f98a7" providerId="ADAL" clId="{3A6F4128-6482-4C75-8C7D-220A75826C22}" dt="2023-07-25T21:04:13.833" v="21041" actId="26606"/>
          <ac:grpSpMkLst>
            <pc:docMk/>
            <pc:sldMk cId="1472277841" sldId="2146846408"/>
            <ac:grpSpMk id="41" creationId="{DB88BD78-87E1-424D-B479-C37D8E41B12E}"/>
          </ac:grpSpMkLst>
        </pc:grpChg>
        <pc:grpChg chg="add del">
          <ac:chgData name="Md Fahim Hasan" userId="92968fce-d4dd-4b9e-8635-66a07c9f98a7" providerId="ADAL" clId="{3A6F4128-6482-4C75-8C7D-220A75826C22}" dt="2023-07-25T21:03:43.758" v="21029" actId="26606"/>
          <ac:grpSpMkLst>
            <pc:docMk/>
            <pc:sldMk cId="1472277841" sldId="2146846408"/>
            <ac:grpSpMk id="57" creationId="{8A919B9C-5C01-47E4-B2F2-45F589208ABF}"/>
          </ac:grpSpMkLst>
        </pc:grpChg>
        <pc:graphicFrameChg chg="add del modGraphic">
          <ac:chgData name="Md Fahim Hasan" userId="92968fce-d4dd-4b9e-8635-66a07c9f98a7" providerId="ADAL" clId="{3A6F4128-6482-4C75-8C7D-220A75826C22}" dt="2023-07-25T20:55:26.330" v="20763" actId="1032"/>
          <ac:graphicFrameMkLst>
            <pc:docMk/>
            <pc:sldMk cId="1472277841" sldId="2146846408"/>
            <ac:graphicFrameMk id="11" creationId="{29A1508D-EB8E-4152-088E-737A499D7CF7}"/>
          </ac:graphicFrameMkLst>
        </pc:graphicFrameChg>
        <pc:graphicFrameChg chg="add mod modGraphic">
          <ac:chgData name="Md Fahim Hasan" userId="92968fce-d4dd-4b9e-8635-66a07c9f98a7" providerId="ADAL" clId="{3A6F4128-6482-4C75-8C7D-220A75826C22}" dt="2023-07-25T21:04:15.409" v="21043" actId="26606"/>
          <ac:graphicFrameMkLst>
            <pc:docMk/>
            <pc:sldMk cId="1472277841" sldId="2146846408"/>
            <ac:graphicFrameMk id="12" creationId="{ADEE726F-7E49-178D-0C5B-D383F77FC99D}"/>
          </ac:graphicFrameMkLst>
        </pc:graphicFrameChg>
        <pc:graphicFrameChg chg="add del mod modGraphic">
          <ac:chgData name="Md Fahim Hasan" userId="92968fce-d4dd-4b9e-8635-66a07c9f98a7" providerId="ADAL" clId="{3A6F4128-6482-4C75-8C7D-220A75826C22}" dt="2023-07-25T21:00:03.195" v="20914" actId="478"/>
          <ac:graphicFrameMkLst>
            <pc:docMk/>
            <pc:sldMk cId="1472277841" sldId="2146846408"/>
            <ac:graphicFrameMk id="14" creationId="{5EC342A7-DFFB-FB17-01CC-ACFC40B1DC15}"/>
          </ac:graphicFrameMkLst>
        </pc:graphicFrameChg>
        <pc:picChg chg="add mod">
          <ac:chgData name="Md Fahim Hasan" userId="92968fce-d4dd-4b9e-8635-66a07c9f98a7" providerId="ADAL" clId="{3A6F4128-6482-4C75-8C7D-220A75826C22}" dt="2023-07-25T21:05:36.252" v="21058" actId="1076"/>
          <ac:picMkLst>
            <pc:docMk/>
            <pc:sldMk cId="1472277841" sldId="2146846408"/>
            <ac:picMk id="59" creationId="{401BF96B-9F88-6753-ACCB-A56A59B79EEF}"/>
          </ac:picMkLst>
        </pc:picChg>
        <pc:picChg chg="add del mod ord">
          <ac:chgData name="Md Fahim Hasan" userId="92968fce-d4dd-4b9e-8635-66a07c9f98a7" providerId="ADAL" clId="{3A6F4128-6482-4C75-8C7D-220A75826C22}" dt="2023-07-25T21:22:17.447" v="21189" actId="478"/>
          <ac:picMkLst>
            <pc:docMk/>
            <pc:sldMk cId="1472277841" sldId="2146846408"/>
            <ac:picMk id="77" creationId="{E1D5C39B-AB55-71FF-B8D0-87A682F0B9D7}"/>
          </ac:picMkLst>
        </pc:picChg>
        <pc:cxnChg chg="add del mod">
          <ac:chgData name="Md Fahim Hasan" userId="92968fce-d4dd-4b9e-8635-66a07c9f98a7" providerId="ADAL" clId="{3A6F4128-6482-4C75-8C7D-220A75826C22}" dt="2023-07-25T20:55:35.763" v="20766" actId="478"/>
          <ac:cxnSpMkLst>
            <pc:docMk/>
            <pc:sldMk cId="1472277841" sldId="2146846408"/>
            <ac:cxnSpMk id="13" creationId="{34C73A0B-BFB5-348F-BF8B-469CCC22122B}"/>
          </ac:cxnSpMkLst>
        </pc:cxnChg>
        <pc:cxnChg chg="add del mod">
          <ac:chgData name="Md Fahim Hasan" userId="92968fce-d4dd-4b9e-8635-66a07c9f98a7" providerId="ADAL" clId="{3A6F4128-6482-4C75-8C7D-220A75826C22}" dt="2023-07-25T20:55:35.763" v="20766" actId="478"/>
          <ac:cxnSpMkLst>
            <pc:docMk/>
            <pc:sldMk cId="1472277841" sldId="2146846408"/>
            <ac:cxnSpMk id="15" creationId="{1B41B782-518C-587F-96EC-6F9C00E62882}"/>
          </ac:cxnSpMkLst>
        </pc:cxnChg>
        <pc:cxnChg chg="add del mod">
          <ac:chgData name="Md Fahim Hasan" userId="92968fce-d4dd-4b9e-8635-66a07c9f98a7" providerId="ADAL" clId="{3A6F4128-6482-4C75-8C7D-220A75826C22}" dt="2023-07-25T20:55:35.763" v="20766" actId="478"/>
          <ac:cxnSpMkLst>
            <pc:docMk/>
            <pc:sldMk cId="1472277841" sldId="2146846408"/>
            <ac:cxnSpMk id="17" creationId="{07BEA832-5C77-7292-901E-098AE5481475}"/>
          </ac:cxnSpMkLst>
        </pc:cxnChg>
        <pc:cxnChg chg="add del">
          <ac:chgData name="Md Fahim Hasan" userId="92968fce-d4dd-4b9e-8635-66a07c9f98a7" providerId="ADAL" clId="{3A6F4128-6482-4C75-8C7D-220A75826C22}" dt="2023-07-25T21:03:36.317" v="21025" actId="26606"/>
          <ac:cxnSpMkLst>
            <pc:docMk/>
            <pc:sldMk cId="1472277841" sldId="2146846408"/>
            <ac:cxnSpMk id="50" creationId="{C8F51B3F-8331-4E4A-AE96-D47B1006EEAD}"/>
          </ac:cxnSpMkLst>
        </pc:cxnChg>
        <pc:cxnChg chg="add del mod">
          <ac:chgData name="Md Fahim Hasan" userId="92968fce-d4dd-4b9e-8635-66a07c9f98a7" providerId="ADAL" clId="{3A6F4128-6482-4C75-8C7D-220A75826C22}" dt="2023-07-25T21:04:49.657" v="21050" actId="478"/>
          <ac:cxnSpMkLst>
            <pc:docMk/>
            <pc:sldMk cId="1472277841" sldId="2146846408"/>
            <ac:cxnSpMk id="51" creationId="{82B1D287-9CAF-430E-4252-6D3DEBDB2FB2}"/>
          </ac:cxnSpMkLst>
        </pc:cxnChg>
        <pc:cxnChg chg="add del mod">
          <ac:chgData name="Md Fahim Hasan" userId="92968fce-d4dd-4b9e-8635-66a07c9f98a7" providerId="ADAL" clId="{3A6F4128-6482-4C75-8C7D-220A75826C22}" dt="2023-07-25T21:06:10.584" v="21063" actId="478"/>
          <ac:cxnSpMkLst>
            <pc:docMk/>
            <pc:sldMk cId="1472277841" sldId="2146846408"/>
            <ac:cxnSpMk id="63" creationId="{236B7B10-2623-A9DD-5649-3AB57DB62FA4}"/>
          </ac:cxnSpMkLst>
        </pc:cxnChg>
        <pc:cxnChg chg="add del">
          <ac:chgData name="Md Fahim Hasan" userId="92968fce-d4dd-4b9e-8635-66a07c9f98a7" providerId="ADAL" clId="{3A6F4128-6482-4C75-8C7D-220A75826C22}" dt="2023-07-25T21:08:51.679" v="21079" actId="478"/>
          <ac:cxnSpMkLst>
            <pc:docMk/>
            <pc:sldMk cId="1472277841" sldId="2146846408"/>
            <ac:cxnSpMk id="69" creationId="{A961C72E-DE9A-9571-EB82-BFBBBF342816}"/>
          </ac:cxnSpMkLst>
        </pc:cxnChg>
        <pc:cxnChg chg="add del mod">
          <ac:chgData name="Md Fahim Hasan" userId="92968fce-d4dd-4b9e-8635-66a07c9f98a7" providerId="ADAL" clId="{3A6F4128-6482-4C75-8C7D-220A75826C22}" dt="2023-07-25T21:08:50.586" v="21078" actId="478"/>
          <ac:cxnSpMkLst>
            <pc:docMk/>
            <pc:sldMk cId="1472277841" sldId="2146846408"/>
            <ac:cxnSpMk id="70" creationId="{EA7A5E5E-90DA-97F0-3E07-C1CBC8C80ADF}"/>
          </ac:cxnSpMkLst>
        </pc:cxnChg>
      </pc:sldChg>
      <pc:sldChg chg="addSp delSp modSp add mod ord delCm modNotesTx">
        <pc:chgData name="Md Fahim Hasan" userId="92968fce-d4dd-4b9e-8635-66a07c9f98a7" providerId="ADAL" clId="{3A6F4128-6482-4C75-8C7D-220A75826C22}" dt="2023-08-01T14:34:04.475" v="40354" actId="20577"/>
        <pc:sldMkLst>
          <pc:docMk/>
          <pc:sldMk cId="2055594962" sldId="2146846408"/>
        </pc:sldMkLst>
        <pc:spChg chg="mod">
          <ac:chgData name="Md Fahim Hasan" userId="92968fce-d4dd-4b9e-8635-66a07c9f98a7" providerId="ADAL" clId="{3A6F4128-6482-4C75-8C7D-220A75826C22}" dt="2023-07-27T15:51:58.279" v="35706"/>
          <ac:spMkLst>
            <pc:docMk/>
            <pc:sldMk cId="2055594962" sldId="2146846408"/>
            <ac:spMk id="3" creationId="{CD848677-760A-76BD-3CD9-CFD89965D462}"/>
          </ac:spMkLst>
        </pc:spChg>
        <pc:spChg chg="mod">
          <ac:chgData name="Md Fahim Hasan" userId="92968fce-d4dd-4b9e-8635-66a07c9f98a7" providerId="ADAL" clId="{3A6F4128-6482-4C75-8C7D-220A75826C22}" dt="2023-07-28T17:33:12.313" v="38976" actId="113"/>
          <ac:spMkLst>
            <pc:docMk/>
            <pc:sldMk cId="2055594962" sldId="2146846408"/>
            <ac:spMk id="9" creationId="{DCE765C9-F866-A10C-05BC-B0F5CF7D4FA9}"/>
          </ac:spMkLst>
        </pc:spChg>
        <pc:spChg chg="mod">
          <ac:chgData name="Md Fahim Hasan" userId="92968fce-d4dd-4b9e-8635-66a07c9f98a7" providerId="ADAL" clId="{3A6F4128-6482-4C75-8C7D-220A75826C22}" dt="2023-07-28T17:32:47.738" v="38949" actId="1076"/>
          <ac:spMkLst>
            <pc:docMk/>
            <pc:sldMk cId="2055594962" sldId="2146846408"/>
            <ac:spMk id="55" creationId="{E5C7310A-3226-177F-2301-3DE6D935F21A}"/>
          </ac:spMkLst>
        </pc:spChg>
        <pc:picChg chg="add del mod">
          <ac:chgData name="Md Fahim Hasan" userId="92968fce-d4dd-4b9e-8635-66a07c9f98a7" providerId="ADAL" clId="{3A6F4128-6482-4C75-8C7D-220A75826C22}" dt="2023-07-27T15:55:03.665" v="35729" actId="1076"/>
          <ac:picMkLst>
            <pc:docMk/>
            <pc:sldMk cId="2055594962" sldId="2146846408"/>
            <ac:picMk id="59" creationId="{401BF96B-9F88-6753-ACCB-A56A59B79EEF}"/>
          </ac:picMkLst>
        </pc:picChg>
      </pc:sldChg>
      <pc:sldChg chg="modSp add del mod ord">
        <pc:chgData name="Md Fahim Hasan" userId="92968fce-d4dd-4b9e-8635-66a07c9f98a7" providerId="ADAL" clId="{3A6F4128-6482-4C75-8C7D-220A75826C22}" dt="2023-07-25T20:22:41.037" v="20420" actId="47"/>
        <pc:sldMkLst>
          <pc:docMk/>
          <pc:sldMk cId="1297891068" sldId="2146846409"/>
        </pc:sldMkLst>
        <pc:spChg chg="mod">
          <ac:chgData name="Md Fahim Hasan" userId="92968fce-d4dd-4b9e-8635-66a07c9f98a7" providerId="ADAL" clId="{3A6F4128-6482-4C75-8C7D-220A75826C22}" dt="2023-07-25T20:18:30.429" v="20384" actId="1076"/>
          <ac:spMkLst>
            <pc:docMk/>
            <pc:sldMk cId="1297891068" sldId="2146846409"/>
            <ac:spMk id="2" creationId="{2D24C0E3-9AC6-9E0F-FEBB-E309F201ABEA}"/>
          </ac:spMkLst>
        </pc:spChg>
        <pc:spChg chg="mod">
          <ac:chgData name="Md Fahim Hasan" userId="92968fce-d4dd-4b9e-8635-66a07c9f98a7" providerId="ADAL" clId="{3A6F4128-6482-4C75-8C7D-220A75826C22}" dt="2023-07-25T20:18:30.429" v="20384" actId="1076"/>
          <ac:spMkLst>
            <pc:docMk/>
            <pc:sldMk cId="1297891068" sldId="2146846409"/>
            <ac:spMk id="3" creationId="{D66E8505-35CE-3AD3-8796-107901306AE8}"/>
          </ac:spMkLst>
        </pc:spChg>
        <pc:spChg chg="mod">
          <ac:chgData name="Md Fahim Hasan" userId="92968fce-d4dd-4b9e-8635-66a07c9f98a7" providerId="ADAL" clId="{3A6F4128-6482-4C75-8C7D-220A75826C22}" dt="2023-07-20T18:09:55.452" v="9352" actId="27636"/>
          <ac:spMkLst>
            <pc:docMk/>
            <pc:sldMk cId="1297891068" sldId="2146846409"/>
            <ac:spMk id="9" creationId="{DCE765C9-F866-A10C-05BC-B0F5CF7D4FA9}"/>
          </ac:spMkLst>
        </pc:spChg>
        <pc:spChg chg="mod">
          <ac:chgData name="Md Fahim Hasan" userId="92968fce-d4dd-4b9e-8635-66a07c9f98a7" providerId="ADAL" clId="{3A6F4128-6482-4C75-8C7D-220A75826C22}" dt="2023-07-25T20:18:30.429" v="20384" actId="1076"/>
          <ac:spMkLst>
            <pc:docMk/>
            <pc:sldMk cId="1297891068" sldId="2146846409"/>
            <ac:spMk id="11" creationId="{34104EF3-AE2A-10CD-807A-5E8D98642890}"/>
          </ac:spMkLst>
        </pc:spChg>
        <pc:spChg chg="mod">
          <ac:chgData name="Md Fahim Hasan" userId="92968fce-d4dd-4b9e-8635-66a07c9f98a7" providerId="ADAL" clId="{3A6F4128-6482-4C75-8C7D-220A75826C22}" dt="2023-07-25T20:18:30.429" v="20384" actId="1076"/>
          <ac:spMkLst>
            <pc:docMk/>
            <pc:sldMk cId="1297891068" sldId="2146846409"/>
            <ac:spMk id="12" creationId="{563AE502-BE2B-F7DC-8070-3C524C7FC52F}"/>
          </ac:spMkLst>
        </pc:spChg>
        <pc:spChg chg="mod">
          <ac:chgData name="Md Fahim Hasan" userId="92968fce-d4dd-4b9e-8635-66a07c9f98a7" providerId="ADAL" clId="{3A6F4128-6482-4C75-8C7D-220A75826C22}" dt="2023-07-25T20:18:30.429" v="20384" actId="1076"/>
          <ac:spMkLst>
            <pc:docMk/>
            <pc:sldMk cId="1297891068" sldId="2146846409"/>
            <ac:spMk id="15" creationId="{A831B13C-8409-F4FA-2FD1-7B0D4DD54039}"/>
          </ac:spMkLst>
        </pc:spChg>
        <pc:spChg chg="mod">
          <ac:chgData name="Md Fahim Hasan" userId="92968fce-d4dd-4b9e-8635-66a07c9f98a7" providerId="ADAL" clId="{3A6F4128-6482-4C75-8C7D-220A75826C22}" dt="2023-07-25T20:18:30.429" v="20384" actId="1076"/>
          <ac:spMkLst>
            <pc:docMk/>
            <pc:sldMk cId="1297891068" sldId="2146846409"/>
            <ac:spMk id="16" creationId="{74FA2828-4265-79AB-6956-60772E0CBF25}"/>
          </ac:spMkLst>
        </pc:spChg>
        <pc:picChg chg="mod">
          <ac:chgData name="Md Fahim Hasan" userId="92968fce-d4dd-4b9e-8635-66a07c9f98a7" providerId="ADAL" clId="{3A6F4128-6482-4C75-8C7D-220A75826C22}" dt="2023-07-25T20:18:30.429" v="20384" actId="1076"/>
          <ac:picMkLst>
            <pc:docMk/>
            <pc:sldMk cId="1297891068" sldId="2146846409"/>
            <ac:picMk id="4" creationId="{1B7C3091-DEA4-66D1-884C-6CB2FD58DBE7}"/>
          </ac:picMkLst>
        </pc:picChg>
        <pc:picChg chg="mod">
          <ac:chgData name="Md Fahim Hasan" userId="92968fce-d4dd-4b9e-8635-66a07c9f98a7" providerId="ADAL" clId="{3A6F4128-6482-4C75-8C7D-220A75826C22}" dt="2023-07-25T20:18:30.429" v="20384" actId="1076"/>
          <ac:picMkLst>
            <pc:docMk/>
            <pc:sldMk cId="1297891068" sldId="2146846409"/>
            <ac:picMk id="7" creationId="{B5713B37-2314-473A-D0AE-587C49D1AB77}"/>
          </ac:picMkLst>
        </pc:picChg>
        <pc:picChg chg="mod">
          <ac:chgData name="Md Fahim Hasan" userId="92968fce-d4dd-4b9e-8635-66a07c9f98a7" providerId="ADAL" clId="{3A6F4128-6482-4C75-8C7D-220A75826C22}" dt="2023-07-25T20:18:30.429" v="20384" actId="1076"/>
          <ac:picMkLst>
            <pc:docMk/>
            <pc:sldMk cId="1297891068" sldId="2146846409"/>
            <ac:picMk id="13" creationId="{46FD433A-9C17-B9F2-33F5-318B3A425069}"/>
          </ac:picMkLst>
        </pc:picChg>
        <pc:picChg chg="mod">
          <ac:chgData name="Md Fahim Hasan" userId="92968fce-d4dd-4b9e-8635-66a07c9f98a7" providerId="ADAL" clId="{3A6F4128-6482-4C75-8C7D-220A75826C22}" dt="2023-07-25T20:18:30.429" v="20384" actId="1076"/>
          <ac:picMkLst>
            <pc:docMk/>
            <pc:sldMk cId="1297891068" sldId="2146846409"/>
            <ac:picMk id="14" creationId="{D31D8173-1F85-39E6-CA70-70E6E8DBB3C5}"/>
          </ac:picMkLst>
        </pc:picChg>
        <pc:cxnChg chg="mod">
          <ac:chgData name="Md Fahim Hasan" userId="92968fce-d4dd-4b9e-8635-66a07c9f98a7" providerId="ADAL" clId="{3A6F4128-6482-4C75-8C7D-220A75826C22}" dt="2023-07-25T20:18:30.429" v="20384" actId="1076"/>
          <ac:cxnSpMkLst>
            <pc:docMk/>
            <pc:sldMk cId="1297891068" sldId="2146846409"/>
            <ac:cxnSpMk id="24" creationId="{99D01E62-F77D-E62A-0C2D-824A66B5AD7B}"/>
          </ac:cxnSpMkLst>
        </pc:cxnChg>
      </pc:sldChg>
      <pc:sldChg chg="addSp delSp modSp add mod ord setBg">
        <pc:chgData name="Md Fahim Hasan" userId="92968fce-d4dd-4b9e-8635-66a07c9f98a7" providerId="ADAL" clId="{3A6F4128-6482-4C75-8C7D-220A75826C22}" dt="2023-07-27T20:38:52.095" v="38051" actId="1076"/>
        <pc:sldMkLst>
          <pc:docMk/>
          <pc:sldMk cId="1968008277" sldId="2146846410"/>
        </pc:sldMkLst>
        <pc:spChg chg="add del mod">
          <ac:chgData name="Md Fahim Hasan" userId="92968fce-d4dd-4b9e-8635-66a07c9f98a7" providerId="ADAL" clId="{3A6F4128-6482-4C75-8C7D-220A75826C22}" dt="2023-07-21T23:52:09.168" v="14379" actId="478"/>
          <ac:spMkLst>
            <pc:docMk/>
            <pc:sldMk cId="1968008277" sldId="2146846410"/>
            <ac:spMk id="6" creationId="{4EEC6E4E-B19F-E348-6D5D-F87DC8402C51}"/>
          </ac:spMkLst>
        </pc:spChg>
        <pc:spChg chg="add mod">
          <ac:chgData name="Md Fahim Hasan" userId="92968fce-d4dd-4b9e-8635-66a07c9f98a7" providerId="ADAL" clId="{3A6F4128-6482-4C75-8C7D-220A75826C22}" dt="2023-07-27T20:38:36.921" v="38047" actId="14100"/>
          <ac:spMkLst>
            <pc:docMk/>
            <pc:sldMk cId="1968008277" sldId="2146846410"/>
            <ac:spMk id="7" creationId="{CD5ED03A-3B9D-9120-10C9-16CF3D860C61}"/>
          </ac:spMkLst>
        </pc:spChg>
        <pc:spChg chg="add del mod">
          <ac:chgData name="Md Fahim Hasan" userId="92968fce-d4dd-4b9e-8635-66a07c9f98a7" providerId="ADAL" clId="{3A6F4128-6482-4C75-8C7D-220A75826C22}" dt="2023-07-21T23:52:09.168" v="14379" actId="478"/>
          <ac:spMkLst>
            <pc:docMk/>
            <pc:sldMk cId="1968008277" sldId="2146846410"/>
            <ac:spMk id="8" creationId="{823AE63C-6241-C6FC-429A-F1E78D0443CD}"/>
          </ac:spMkLst>
        </pc:spChg>
        <pc:spChg chg="mod">
          <ac:chgData name="Md Fahim Hasan" userId="92968fce-d4dd-4b9e-8635-66a07c9f98a7" providerId="ADAL" clId="{3A6F4128-6482-4C75-8C7D-220A75826C22}" dt="2023-07-21T23:53:54.586" v="14408" actId="26606"/>
          <ac:spMkLst>
            <pc:docMk/>
            <pc:sldMk cId="1968008277" sldId="2146846410"/>
            <ac:spMk id="9" creationId="{DCE765C9-F866-A10C-05BC-B0F5CF7D4FA9}"/>
          </ac:spMkLst>
        </pc:spChg>
        <pc:spChg chg="add del mod">
          <ac:chgData name="Md Fahim Hasan" userId="92968fce-d4dd-4b9e-8635-66a07c9f98a7" providerId="ADAL" clId="{3A6F4128-6482-4C75-8C7D-220A75826C22}" dt="2023-07-21T23:52:09.168" v="14379" actId="478"/>
          <ac:spMkLst>
            <pc:docMk/>
            <pc:sldMk cId="1968008277" sldId="2146846410"/>
            <ac:spMk id="10" creationId="{541A8F3A-F683-BE39-A575-C1BBCF86573E}"/>
          </ac:spMkLst>
        </pc:spChg>
        <pc:spChg chg="mod">
          <ac:chgData name="Md Fahim Hasan" userId="92968fce-d4dd-4b9e-8635-66a07c9f98a7" providerId="ADAL" clId="{3A6F4128-6482-4C75-8C7D-220A75826C22}" dt="2023-07-27T15:51:58.279" v="35706"/>
          <ac:spMkLst>
            <pc:docMk/>
            <pc:sldMk cId="1968008277" sldId="2146846410"/>
            <ac:spMk id="12" creationId="{CA054FAF-ADBE-038A-975C-DE37BB0A3D5F}"/>
          </ac:spMkLst>
        </pc:spChg>
        <pc:spChg chg="add mod">
          <ac:chgData name="Md Fahim Hasan" userId="92968fce-d4dd-4b9e-8635-66a07c9f98a7" providerId="ADAL" clId="{3A6F4128-6482-4C75-8C7D-220A75826C22}" dt="2023-07-27T20:38:52.095" v="38051" actId="1076"/>
          <ac:spMkLst>
            <pc:docMk/>
            <pc:sldMk cId="1968008277" sldId="2146846410"/>
            <ac:spMk id="13" creationId="{24CB8F9A-8CB9-451B-64A8-F41B39D37A3B}"/>
          </ac:spMkLst>
        </pc:spChg>
        <pc:spChg chg="add del mod">
          <ac:chgData name="Md Fahim Hasan" userId="92968fce-d4dd-4b9e-8635-66a07c9f98a7" providerId="ADAL" clId="{3A6F4128-6482-4C75-8C7D-220A75826C22}" dt="2023-07-20T19:30:07.959" v="9770"/>
          <ac:spMkLst>
            <pc:docMk/>
            <pc:sldMk cId="1968008277" sldId="2146846410"/>
            <ac:spMk id="14" creationId="{76ED2831-5A71-D0EE-E2FC-D1F109326476}"/>
          </ac:spMkLst>
        </pc:spChg>
        <pc:spChg chg="add del mod">
          <ac:chgData name="Md Fahim Hasan" userId="92968fce-d4dd-4b9e-8635-66a07c9f98a7" providerId="ADAL" clId="{3A6F4128-6482-4C75-8C7D-220A75826C22}" dt="2023-07-20T19:30:07.959" v="9770"/>
          <ac:spMkLst>
            <pc:docMk/>
            <pc:sldMk cId="1968008277" sldId="2146846410"/>
            <ac:spMk id="15" creationId="{FA716FC8-2CF5-EF70-77E9-0533B1C92855}"/>
          </ac:spMkLst>
        </pc:spChg>
        <pc:spChg chg="add del mod">
          <ac:chgData name="Md Fahim Hasan" userId="92968fce-d4dd-4b9e-8635-66a07c9f98a7" providerId="ADAL" clId="{3A6F4128-6482-4C75-8C7D-220A75826C22}" dt="2023-07-20T19:30:07.959" v="9770"/>
          <ac:spMkLst>
            <pc:docMk/>
            <pc:sldMk cId="1968008277" sldId="2146846410"/>
            <ac:spMk id="16" creationId="{F34B5545-13B2-D050-A86E-3EF0EDE25DB5}"/>
          </ac:spMkLst>
        </pc:spChg>
        <pc:spChg chg="add del mod">
          <ac:chgData name="Md Fahim Hasan" userId="92968fce-d4dd-4b9e-8635-66a07c9f98a7" providerId="ADAL" clId="{3A6F4128-6482-4C75-8C7D-220A75826C22}" dt="2023-07-21T23:52:09.168" v="14379" actId="478"/>
          <ac:spMkLst>
            <pc:docMk/>
            <pc:sldMk cId="1968008277" sldId="2146846410"/>
            <ac:spMk id="20" creationId="{66F7CAE0-B548-7301-BF32-DD2669E691A3}"/>
          </ac:spMkLst>
        </pc:spChg>
        <pc:spChg chg="add del mod">
          <ac:chgData name="Md Fahim Hasan" userId="92968fce-d4dd-4b9e-8635-66a07c9f98a7" providerId="ADAL" clId="{3A6F4128-6482-4C75-8C7D-220A75826C22}" dt="2023-07-21T23:52:09.168" v="14379" actId="478"/>
          <ac:spMkLst>
            <pc:docMk/>
            <pc:sldMk cId="1968008277" sldId="2146846410"/>
            <ac:spMk id="21" creationId="{51D380B0-CC74-AEDB-6958-69A7E14A524E}"/>
          </ac:spMkLst>
        </pc:spChg>
        <pc:spChg chg="add del mod">
          <ac:chgData name="Md Fahim Hasan" userId="92968fce-d4dd-4b9e-8635-66a07c9f98a7" providerId="ADAL" clId="{3A6F4128-6482-4C75-8C7D-220A75826C22}" dt="2023-07-21T23:52:09.168" v="14379" actId="478"/>
          <ac:spMkLst>
            <pc:docMk/>
            <pc:sldMk cId="1968008277" sldId="2146846410"/>
            <ac:spMk id="22" creationId="{DE59A53B-3E9A-6185-CD8A-C7CD6EDE4F4B}"/>
          </ac:spMkLst>
        </pc:spChg>
        <pc:spChg chg="add del">
          <ac:chgData name="Md Fahim Hasan" userId="92968fce-d4dd-4b9e-8635-66a07c9f98a7" providerId="ADAL" clId="{3A6F4128-6482-4C75-8C7D-220A75826C22}" dt="2023-07-21T23:53:54.586" v="14408" actId="26606"/>
          <ac:spMkLst>
            <pc:docMk/>
            <pc:sldMk cId="1968008277" sldId="2146846410"/>
            <ac:spMk id="23" creationId="{09588DA8-065E-4F6F-8EFD-43104AB2E0CF}"/>
          </ac:spMkLst>
        </pc:spChg>
        <pc:spChg chg="add del">
          <ac:chgData name="Md Fahim Hasan" userId="92968fce-d4dd-4b9e-8635-66a07c9f98a7" providerId="ADAL" clId="{3A6F4128-6482-4C75-8C7D-220A75826C22}" dt="2023-07-21T23:53:54.586" v="14408" actId="26606"/>
          <ac:spMkLst>
            <pc:docMk/>
            <pc:sldMk cId="1968008277" sldId="2146846410"/>
            <ac:spMk id="24" creationId="{4300840D-0A0B-4512-BACA-B439D5B9C57C}"/>
          </ac:spMkLst>
        </pc:spChg>
        <pc:spChg chg="add del">
          <ac:chgData name="Md Fahim Hasan" userId="92968fce-d4dd-4b9e-8635-66a07c9f98a7" providerId="ADAL" clId="{3A6F4128-6482-4C75-8C7D-220A75826C22}" dt="2023-07-21T23:53:54.586" v="14408" actId="26606"/>
          <ac:spMkLst>
            <pc:docMk/>
            <pc:sldMk cId="1968008277" sldId="2146846410"/>
            <ac:spMk id="25" creationId="{C4285719-470E-454C-AF62-8323075F1F5B}"/>
          </ac:spMkLst>
        </pc:spChg>
        <pc:spChg chg="add del">
          <ac:chgData name="Md Fahim Hasan" userId="92968fce-d4dd-4b9e-8635-66a07c9f98a7" providerId="ADAL" clId="{3A6F4128-6482-4C75-8C7D-220A75826C22}" dt="2023-07-21T23:53:54.586" v="14408" actId="26606"/>
          <ac:spMkLst>
            <pc:docMk/>
            <pc:sldMk cId="1968008277" sldId="2146846410"/>
            <ac:spMk id="26" creationId="{D2B78728-A580-49A7-84F9-6EF6F583ADE0}"/>
          </ac:spMkLst>
        </pc:spChg>
        <pc:spChg chg="add del">
          <ac:chgData name="Md Fahim Hasan" userId="92968fce-d4dd-4b9e-8635-66a07c9f98a7" providerId="ADAL" clId="{3A6F4128-6482-4C75-8C7D-220A75826C22}" dt="2023-07-21T23:53:54.586" v="14408" actId="26606"/>
          <ac:spMkLst>
            <pc:docMk/>
            <pc:sldMk cId="1968008277" sldId="2146846410"/>
            <ac:spMk id="27" creationId="{CD9FE4EF-C4D8-49A0-B2FF-81D8DB7D8A24}"/>
          </ac:spMkLst>
        </pc:spChg>
        <pc:spChg chg="add del">
          <ac:chgData name="Md Fahim Hasan" userId="92968fce-d4dd-4b9e-8635-66a07c9f98a7" providerId="ADAL" clId="{3A6F4128-6482-4C75-8C7D-220A75826C22}" dt="2023-07-21T23:53:54.586" v="14408" actId="26606"/>
          <ac:spMkLst>
            <pc:docMk/>
            <pc:sldMk cId="1968008277" sldId="2146846410"/>
            <ac:spMk id="28" creationId="{38FAA1A1-D861-433F-88FA-1E9D6FD31D11}"/>
          </ac:spMkLst>
        </pc:spChg>
        <pc:spChg chg="add del">
          <ac:chgData name="Md Fahim Hasan" userId="92968fce-d4dd-4b9e-8635-66a07c9f98a7" providerId="ADAL" clId="{3A6F4128-6482-4C75-8C7D-220A75826C22}" dt="2023-07-21T23:53:54.586" v="14408" actId="26606"/>
          <ac:spMkLst>
            <pc:docMk/>
            <pc:sldMk cId="1968008277" sldId="2146846410"/>
            <ac:spMk id="30" creationId="{8D71EDA1-87BF-4D5D-AB79-F346FD19278A}"/>
          </ac:spMkLst>
        </pc:spChg>
        <pc:picChg chg="add del mod">
          <ac:chgData name="Md Fahim Hasan" userId="92968fce-d4dd-4b9e-8635-66a07c9f98a7" providerId="ADAL" clId="{3A6F4128-6482-4C75-8C7D-220A75826C22}" dt="2023-07-21T23:50:53.390" v="14326" actId="478"/>
          <ac:picMkLst>
            <pc:docMk/>
            <pc:sldMk cId="1968008277" sldId="2146846410"/>
            <ac:picMk id="2" creationId="{42FF6F43-CA16-0AC1-FB2F-BB373AA122A9}"/>
          </ac:picMkLst>
        </pc:picChg>
        <pc:picChg chg="add del mod">
          <ac:chgData name="Md Fahim Hasan" userId="92968fce-d4dd-4b9e-8635-66a07c9f98a7" providerId="ADAL" clId="{3A6F4128-6482-4C75-8C7D-220A75826C22}" dt="2023-07-21T23:50:53.390" v="14326" actId="478"/>
          <ac:picMkLst>
            <pc:docMk/>
            <pc:sldMk cId="1968008277" sldId="2146846410"/>
            <ac:picMk id="3" creationId="{EA8B3C9E-B336-9793-88BA-CA3CF83E1057}"/>
          </ac:picMkLst>
        </pc:picChg>
        <pc:picChg chg="add del mod">
          <ac:chgData name="Md Fahim Hasan" userId="92968fce-d4dd-4b9e-8635-66a07c9f98a7" providerId="ADAL" clId="{3A6F4128-6482-4C75-8C7D-220A75826C22}" dt="2023-07-21T23:50:53.390" v="14326" actId="478"/>
          <ac:picMkLst>
            <pc:docMk/>
            <pc:sldMk cId="1968008277" sldId="2146846410"/>
            <ac:picMk id="4" creationId="{EAA83488-3B9B-F03F-4B4E-4E383CAC4639}"/>
          </ac:picMkLst>
        </pc:picChg>
        <pc:picChg chg="add del mod">
          <ac:chgData name="Md Fahim Hasan" userId="92968fce-d4dd-4b9e-8635-66a07c9f98a7" providerId="ADAL" clId="{3A6F4128-6482-4C75-8C7D-220A75826C22}" dt="2023-07-21T23:50:53.390" v="14326" actId="478"/>
          <ac:picMkLst>
            <pc:docMk/>
            <pc:sldMk cId="1968008277" sldId="2146846410"/>
            <ac:picMk id="5" creationId="{81B756CE-2185-C9E1-755F-FAFF422DB8B1}"/>
          </ac:picMkLst>
        </pc:picChg>
        <pc:picChg chg="add del mod">
          <ac:chgData name="Md Fahim Hasan" userId="92968fce-d4dd-4b9e-8635-66a07c9f98a7" providerId="ADAL" clId="{3A6F4128-6482-4C75-8C7D-220A75826C22}" dt="2023-07-20T19:30:07.959" v="9770"/>
          <ac:picMkLst>
            <pc:docMk/>
            <pc:sldMk cId="1968008277" sldId="2146846410"/>
            <ac:picMk id="11" creationId="{248809DC-6D76-57D1-1E1C-EED2D3B17B19}"/>
          </ac:picMkLst>
        </pc:picChg>
        <pc:picChg chg="add del mod">
          <ac:chgData name="Md Fahim Hasan" userId="92968fce-d4dd-4b9e-8635-66a07c9f98a7" providerId="ADAL" clId="{3A6F4128-6482-4C75-8C7D-220A75826C22}" dt="2023-07-21T23:50:53.390" v="14326" actId="478"/>
          <ac:picMkLst>
            <pc:docMk/>
            <pc:sldMk cId="1968008277" sldId="2146846410"/>
            <ac:picMk id="11" creationId="{66D0F7C0-6D19-48F5-62C3-FDC3CCE89A0F}"/>
          </ac:picMkLst>
        </pc:picChg>
        <pc:picChg chg="add del mod">
          <ac:chgData name="Md Fahim Hasan" userId="92968fce-d4dd-4b9e-8635-66a07c9f98a7" providerId="ADAL" clId="{3A6F4128-6482-4C75-8C7D-220A75826C22}" dt="2023-07-20T19:30:07.959" v="9770"/>
          <ac:picMkLst>
            <pc:docMk/>
            <pc:sldMk cId="1968008277" sldId="2146846410"/>
            <ac:picMk id="12" creationId="{8FAC855B-774E-9FC3-AAD7-8CD0B3556313}"/>
          </ac:picMkLst>
        </pc:picChg>
        <pc:picChg chg="add del mod">
          <ac:chgData name="Md Fahim Hasan" userId="92968fce-d4dd-4b9e-8635-66a07c9f98a7" providerId="ADAL" clId="{3A6F4128-6482-4C75-8C7D-220A75826C22}" dt="2023-07-20T19:30:07.959" v="9770"/>
          <ac:picMkLst>
            <pc:docMk/>
            <pc:sldMk cId="1968008277" sldId="2146846410"/>
            <ac:picMk id="13" creationId="{C12C30F0-7515-0987-3BF5-A41ED7183676}"/>
          </ac:picMkLst>
        </pc:picChg>
        <pc:picChg chg="add del mod">
          <ac:chgData name="Md Fahim Hasan" userId="92968fce-d4dd-4b9e-8635-66a07c9f98a7" providerId="ADAL" clId="{3A6F4128-6482-4C75-8C7D-220A75826C22}" dt="2023-07-20T19:31:17.266" v="9811" actId="478"/>
          <ac:picMkLst>
            <pc:docMk/>
            <pc:sldMk cId="1968008277" sldId="2146846410"/>
            <ac:picMk id="17" creationId="{72DE55BD-20BA-83E6-3A44-E865AADC72C0}"/>
          </ac:picMkLst>
        </pc:picChg>
        <pc:picChg chg="add del mod">
          <ac:chgData name="Md Fahim Hasan" userId="92968fce-d4dd-4b9e-8635-66a07c9f98a7" providerId="ADAL" clId="{3A6F4128-6482-4C75-8C7D-220A75826C22}" dt="2023-07-21T23:50:53.390" v="14326" actId="478"/>
          <ac:picMkLst>
            <pc:docMk/>
            <pc:sldMk cId="1968008277" sldId="2146846410"/>
            <ac:picMk id="18" creationId="{B07D9DD1-FE4F-F3A3-93E2-67F9BB27E0BE}"/>
          </ac:picMkLst>
        </pc:picChg>
        <pc:picChg chg="add del mod">
          <ac:chgData name="Md Fahim Hasan" userId="92968fce-d4dd-4b9e-8635-66a07c9f98a7" providerId="ADAL" clId="{3A6F4128-6482-4C75-8C7D-220A75826C22}" dt="2023-07-20T19:31:31.364" v="9825" actId="478"/>
          <ac:picMkLst>
            <pc:docMk/>
            <pc:sldMk cId="1968008277" sldId="2146846410"/>
            <ac:picMk id="19" creationId="{A5205432-892A-EF83-A1A7-7F6899C6B4D8}"/>
          </ac:picMkLst>
        </pc:picChg>
      </pc:sldChg>
      <pc:sldChg chg="addSp delSp modSp add mod setBg delDesignElem">
        <pc:chgData name="Md Fahim Hasan" userId="92968fce-d4dd-4b9e-8635-66a07c9f98a7" providerId="ADAL" clId="{3A6F4128-6482-4C75-8C7D-220A75826C22}" dt="2023-07-21T14:56:10.384" v="10153" actId="1076"/>
        <pc:sldMkLst>
          <pc:docMk/>
          <pc:sldMk cId="2340966377" sldId="2146846411"/>
        </pc:sldMkLst>
        <pc:spChg chg="add del mod">
          <ac:chgData name="Md Fahim Hasan" userId="92968fce-d4dd-4b9e-8635-66a07c9f98a7" providerId="ADAL" clId="{3A6F4128-6482-4C75-8C7D-220A75826C22}" dt="2023-07-21T14:56:10.384" v="10153" actId="1076"/>
          <ac:spMkLst>
            <pc:docMk/>
            <pc:sldMk cId="2340966377" sldId="2146846411"/>
            <ac:spMk id="2" creationId="{3686BA84-DCD5-9E45-57C1-47E4B920DEDD}"/>
          </ac:spMkLst>
        </pc:spChg>
        <pc:spChg chg="add del">
          <ac:chgData name="Md Fahim Hasan" userId="92968fce-d4dd-4b9e-8635-66a07c9f98a7" providerId="ADAL" clId="{3A6F4128-6482-4C75-8C7D-220A75826C22}" dt="2023-07-21T14:55:28.318" v="10139" actId="478"/>
          <ac:spMkLst>
            <pc:docMk/>
            <pc:sldMk cId="2340966377" sldId="2146846411"/>
            <ac:spMk id="3" creationId="{38F72305-8CA3-1450-F878-0014A899FB3E}"/>
          </ac:spMkLst>
        </pc:spChg>
        <pc:spChg chg="del">
          <ac:chgData name="Md Fahim Hasan" userId="92968fce-d4dd-4b9e-8635-66a07c9f98a7" providerId="ADAL" clId="{3A6F4128-6482-4C75-8C7D-220A75826C22}" dt="2023-07-21T14:55:31.227" v="10141" actId="478"/>
          <ac:spMkLst>
            <pc:docMk/>
            <pc:sldMk cId="2340966377" sldId="2146846411"/>
            <ac:spMk id="5" creationId="{86E3427F-CEA6-580F-2887-D38E7EF0BF56}"/>
          </ac:spMkLst>
        </pc:spChg>
        <pc:spChg chg="add del mod">
          <ac:chgData name="Md Fahim Hasan" userId="92968fce-d4dd-4b9e-8635-66a07c9f98a7" providerId="ADAL" clId="{3A6F4128-6482-4C75-8C7D-220A75826C22}" dt="2023-07-21T14:55:18.846" v="10128" actId="478"/>
          <ac:spMkLst>
            <pc:docMk/>
            <pc:sldMk cId="2340966377" sldId="2146846411"/>
            <ac:spMk id="8" creationId="{C4A3B706-392C-57E0-B2A2-C644195FD42A}"/>
          </ac:spMkLst>
        </pc:spChg>
        <pc:spChg chg="add del mod">
          <ac:chgData name="Md Fahim Hasan" userId="92968fce-d4dd-4b9e-8635-66a07c9f98a7" providerId="ADAL" clId="{3A6F4128-6482-4C75-8C7D-220A75826C22}" dt="2023-07-21T14:55:17.707" v="10126" actId="478"/>
          <ac:spMkLst>
            <pc:docMk/>
            <pc:sldMk cId="2340966377" sldId="2146846411"/>
            <ac:spMk id="10" creationId="{99AF43CA-0178-97FD-C16A-3655DA131AF4}"/>
          </ac:spMkLst>
        </pc:spChg>
        <pc:spChg chg="add del mod">
          <ac:chgData name="Md Fahim Hasan" userId="92968fce-d4dd-4b9e-8635-66a07c9f98a7" providerId="ADAL" clId="{3A6F4128-6482-4C75-8C7D-220A75826C22}" dt="2023-07-21T14:55:33.143" v="10142" actId="478"/>
          <ac:spMkLst>
            <pc:docMk/>
            <pc:sldMk cId="2340966377" sldId="2146846411"/>
            <ac:spMk id="12" creationId="{687FB1C4-6929-43ED-C4F2-086D48B1D716}"/>
          </ac:spMkLst>
        </pc:spChg>
        <pc:spChg chg="del">
          <ac:chgData name="Md Fahim Hasan" userId="92968fce-d4dd-4b9e-8635-66a07c9f98a7" providerId="ADAL" clId="{3A6F4128-6482-4C75-8C7D-220A75826C22}" dt="2023-07-21T14:55:03.683" v="10118"/>
          <ac:spMkLst>
            <pc:docMk/>
            <pc:sldMk cId="2340966377" sldId="2146846411"/>
            <ac:spMk id="31" creationId="{3C54F4CE-85F0-46ED-80DA-9518C9251AD1}"/>
          </ac:spMkLst>
        </pc:spChg>
        <pc:spChg chg="del">
          <ac:chgData name="Md Fahim Hasan" userId="92968fce-d4dd-4b9e-8635-66a07c9f98a7" providerId="ADAL" clId="{3A6F4128-6482-4C75-8C7D-220A75826C22}" dt="2023-07-21T14:55:03.683" v="10118"/>
          <ac:spMkLst>
            <pc:docMk/>
            <pc:sldMk cId="2340966377" sldId="2146846411"/>
            <ac:spMk id="33" creationId="{DADD1FCA-8ACB-4958-81DD-4CDD6D3E1921}"/>
          </ac:spMkLst>
        </pc:spChg>
        <pc:cxnChg chg="add del">
          <ac:chgData name="Md Fahim Hasan" userId="92968fce-d4dd-4b9e-8635-66a07c9f98a7" providerId="ADAL" clId="{3A6F4128-6482-4C75-8C7D-220A75826C22}" dt="2023-07-21T14:55:29.589" v="10140" actId="478"/>
          <ac:cxnSpMkLst>
            <pc:docMk/>
            <pc:sldMk cId="2340966377" sldId="2146846411"/>
            <ac:cxnSpMk id="7" creationId="{B26CD7DE-8844-25E4-E55D-B5BB8971A186}"/>
          </ac:cxnSpMkLst>
        </pc:cxnChg>
      </pc:sldChg>
      <pc:sldChg chg="delSp add del ord setBg delDesignElem">
        <pc:chgData name="Md Fahim Hasan" userId="92968fce-d4dd-4b9e-8635-66a07c9f98a7" providerId="ADAL" clId="{3A6F4128-6482-4C75-8C7D-220A75826C22}" dt="2023-07-21T15:17:47.707" v="10163" actId="47"/>
        <pc:sldMkLst>
          <pc:docMk/>
          <pc:sldMk cId="1502302232" sldId="2146846412"/>
        </pc:sldMkLst>
        <pc:spChg chg="del">
          <ac:chgData name="Md Fahim Hasan" userId="92968fce-d4dd-4b9e-8635-66a07c9f98a7" providerId="ADAL" clId="{3A6F4128-6482-4C75-8C7D-220A75826C22}" dt="2023-07-21T15:17:23.458" v="10160"/>
          <ac:spMkLst>
            <pc:docMk/>
            <pc:sldMk cId="1502302232" sldId="2146846412"/>
            <ac:spMk id="14" creationId="{17718681-A12E-49D6-9925-DD7C68176D61}"/>
          </ac:spMkLst>
        </pc:spChg>
        <pc:spChg chg="del">
          <ac:chgData name="Md Fahim Hasan" userId="92968fce-d4dd-4b9e-8635-66a07c9f98a7" providerId="ADAL" clId="{3A6F4128-6482-4C75-8C7D-220A75826C22}" dt="2023-07-21T15:17:23.458" v="10160"/>
          <ac:spMkLst>
            <pc:docMk/>
            <pc:sldMk cId="1502302232" sldId="2146846412"/>
            <ac:spMk id="16" creationId="{FBD77573-9EF2-4C35-8285-A1CF6FBB0EA5}"/>
          </ac:spMkLst>
        </pc:spChg>
      </pc:sldChg>
      <pc:sldChg chg="modSp add mod">
        <pc:chgData name="Md Fahim Hasan" userId="92968fce-d4dd-4b9e-8635-66a07c9f98a7" providerId="ADAL" clId="{3A6F4128-6482-4C75-8C7D-220A75826C22}" dt="2023-07-27T19:07:52.562" v="37469" actId="11"/>
        <pc:sldMkLst>
          <pc:docMk/>
          <pc:sldMk cId="1983412115" sldId="2146846412"/>
        </pc:sldMkLst>
        <pc:spChg chg="mod">
          <ac:chgData name="Md Fahim Hasan" userId="92968fce-d4dd-4b9e-8635-66a07c9f98a7" providerId="ADAL" clId="{3A6F4128-6482-4C75-8C7D-220A75826C22}" dt="2023-07-27T19:07:52.562" v="37469" actId="11"/>
          <ac:spMkLst>
            <pc:docMk/>
            <pc:sldMk cId="1983412115" sldId="2146846412"/>
            <ac:spMk id="2" creationId="{90C96AA1-6C12-6623-0754-4E4DD20BEE5B}"/>
          </ac:spMkLst>
        </pc:spChg>
        <pc:spChg chg="mod">
          <ac:chgData name="Md Fahim Hasan" userId="92968fce-d4dd-4b9e-8635-66a07c9f98a7" providerId="ADAL" clId="{3A6F4128-6482-4C75-8C7D-220A75826C22}" dt="2023-07-27T15:51:58.279" v="35706"/>
          <ac:spMkLst>
            <pc:docMk/>
            <pc:sldMk cId="1983412115" sldId="2146846412"/>
            <ac:spMk id="3" creationId="{7B6B92E1-2AB9-FE4E-E2F4-AE076BC2F1C6}"/>
          </ac:spMkLst>
        </pc:spChg>
        <pc:spChg chg="mod">
          <ac:chgData name="Md Fahim Hasan" userId="92968fce-d4dd-4b9e-8635-66a07c9f98a7" providerId="ADAL" clId="{3A6F4128-6482-4C75-8C7D-220A75826C22}" dt="2023-07-27T00:35:26.944" v="33904" actId="1076"/>
          <ac:spMkLst>
            <pc:docMk/>
            <pc:sldMk cId="1983412115" sldId="2146846412"/>
            <ac:spMk id="9" creationId="{DCE765C9-F866-A10C-05BC-B0F5CF7D4FA9}"/>
          </ac:spMkLst>
        </pc:spChg>
      </pc:sldChg>
      <pc:sldChg chg="delSp add del mod">
        <pc:chgData name="Md Fahim Hasan" userId="92968fce-d4dd-4b9e-8635-66a07c9f98a7" providerId="ADAL" clId="{3A6F4128-6482-4C75-8C7D-220A75826C22}" dt="2023-07-21T15:57:37.245" v="11027" actId="47"/>
        <pc:sldMkLst>
          <pc:docMk/>
          <pc:sldMk cId="1827202305" sldId="2146846413"/>
        </pc:sldMkLst>
        <pc:spChg chg="del">
          <ac:chgData name="Md Fahim Hasan" userId="92968fce-d4dd-4b9e-8635-66a07c9f98a7" providerId="ADAL" clId="{3A6F4128-6482-4C75-8C7D-220A75826C22}" dt="2023-07-21T15:57:34.643" v="11026" actId="478"/>
          <ac:spMkLst>
            <pc:docMk/>
            <pc:sldMk cId="1827202305" sldId="2146846413"/>
            <ac:spMk id="9" creationId="{DCE765C9-F866-A10C-05BC-B0F5CF7D4FA9}"/>
          </ac:spMkLst>
        </pc:spChg>
      </pc:sldChg>
      <pc:sldChg chg="addSp delSp modSp add del mod setBg delDesignElem">
        <pc:chgData name="Md Fahim Hasan" userId="92968fce-d4dd-4b9e-8635-66a07c9f98a7" providerId="ADAL" clId="{3A6F4128-6482-4C75-8C7D-220A75826C22}" dt="2023-07-21T16:02:49.744" v="11126" actId="47"/>
        <pc:sldMkLst>
          <pc:docMk/>
          <pc:sldMk cId="3137985876" sldId="2146846413"/>
        </pc:sldMkLst>
        <pc:spChg chg="add del mod">
          <ac:chgData name="Md Fahim Hasan" userId="92968fce-d4dd-4b9e-8635-66a07c9f98a7" providerId="ADAL" clId="{3A6F4128-6482-4C75-8C7D-220A75826C22}" dt="2023-07-21T15:58:47.228" v="11045" actId="478"/>
          <ac:spMkLst>
            <pc:docMk/>
            <pc:sldMk cId="3137985876" sldId="2146846413"/>
            <ac:spMk id="2" creationId="{E7A54C93-812A-0D67-6587-1FC6A2252270}"/>
          </ac:spMkLst>
        </pc:spChg>
        <pc:spChg chg="add mod">
          <ac:chgData name="Md Fahim Hasan" userId="92968fce-d4dd-4b9e-8635-66a07c9f98a7" providerId="ADAL" clId="{3A6F4128-6482-4C75-8C7D-220A75826C22}" dt="2023-07-21T15:59:48.455" v="11070" actId="20577"/>
          <ac:spMkLst>
            <pc:docMk/>
            <pc:sldMk cId="3137985876" sldId="2146846413"/>
            <ac:spMk id="4" creationId="{F39B5902-B0C8-37BF-AE84-8ACC56469246}"/>
          </ac:spMkLst>
        </pc:spChg>
        <pc:spChg chg="del">
          <ac:chgData name="Md Fahim Hasan" userId="92968fce-d4dd-4b9e-8635-66a07c9f98a7" providerId="ADAL" clId="{3A6F4128-6482-4C75-8C7D-220A75826C22}" dt="2023-07-21T15:57:47.170" v="11032" actId="478"/>
          <ac:spMkLst>
            <pc:docMk/>
            <pc:sldMk cId="3137985876" sldId="2146846413"/>
            <ac:spMk id="5" creationId="{6B0E3D4A-AE11-4EEE-47A3-F08F39D0D674}"/>
          </ac:spMkLst>
        </pc:spChg>
        <pc:spChg chg="del">
          <ac:chgData name="Md Fahim Hasan" userId="92968fce-d4dd-4b9e-8635-66a07c9f98a7" providerId="ADAL" clId="{3A6F4128-6482-4C75-8C7D-220A75826C22}" dt="2023-07-21T15:57:43.793" v="11030" actId="478"/>
          <ac:spMkLst>
            <pc:docMk/>
            <pc:sldMk cId="3137985876" sldId="2146846413"/>
            <ac:spMk id="9" creationId="{DCE765C9-F866-A10C-05BC-B0F5CF7D4FA9}"/>
          </ac:spMkLst>
        </pc:spChg>
        <pc:spChg chg="del">
          <ac:chgData name="Md Fahim Hasan" userId="92968fce-d4dd-4b9e-8635-66a07c9f98a7" providerId="ADAL" clId="{3A6F4128-6482-4C75-8C7D-220A75826C22}" dt="2023-07-21T15:57:40.500" v="11029"/>
          <ac:spMkLst>
            <pc:docMk/>
            <pc:sldMk cId="3137985876" sldId="2146846413"/>
            <ac:spMk id="14" creationId="{17718681-A12E-49D6-9925-DD7C68176D61}"/>
          </ac:spMkLst>
        </pc:spChg>
        <pc:spChg chg="del">
          <ac:chgData name="Md Fahim Hasan" userId="92968fce-d4dd-4b9e-8635-66a07c9f98a7" providerId="ADAL" clId="{3A6F4128-6482-4C75-8C7D-220A75826C22}" dt="2023-07-21T15:57:40.500" v="11029"/>
          <ac:spMkLst>
            <pc:docMk/>
            <pc:sldMk cId="3137985876" sldId="2146846413"/>
            <ac:spMk id="16" creationId="{FBD77573-9EF2-4C35-8285-A1CF6FBB0EA5}"/>
          </ac:spMkLst>
        </pc:spChg>
        <pc:picChg chg="del">
          <ac:chgData name="Md Fahim Hasan" userId="92968fce-d4dd-4b9e-8635-66a07c9f98a7" providerId="ADAL" clId="{3A6F4128-6482-4C75-8C7D-220A75826C22}" dt="2023-07-21T15:57:45.129" v="11031" actId="478"/>
          <ac:picMkLst>
            <pc:docMk/>
            <pc:sldMk cId="3137985876" sldId="2146846413"/>
            <ac:picMk id="15" creationId="{B0F7B2C1-02FD-AB52-1E28-5A1C0EE1123A}"/>
          </ac:picMkLst>
        </pc:picChg>
      </pc:sldChg>
      <pc:sldChg chg="addSp delSp add del setBg delDesignElem">
        <pc:chgData name="Md Fahim Hasan" userId="92968fce-d4dd-4b9e-8635-66a07c9f98a7" providerId="ADAL" clId="{3A6F4128-6482-4C75-8C7D-220A75826C22}" dt="2023-07-21T15:59:39.200" v="11067"/>
        <pc:sldMkLst>
          <pc:docMk/>
          <pc:sldMk cId="911563943" sldId="2146846414"/>
        </pc:sldMkLst>
        <pc:spChg chg="add del">
          <ac:chgData name="Md Fahim Hasan" userId="92968fce-d4dd-4b9e-8635-66a07c9f98a7" providerId="ADAL" clId="{3A6F4128-6482-4C75-8C7D-220A75826C22}" dt="2023-07-21T15:59:39.200" v="11067"/>
          <ac:spMkLst>
            <pc:docMk/>
            <pc:sldMk cId="911563943" sldId="2146846414"/>
            <ac:spMk id="14" creationId="{17718681-A12E-49D6-9925-DD7C68176D61}"/>
          </ac:spMkLst>
        </pc:spChg>
        <pc:spChg chg="add del">
          <ac:chgData name="Md Fahim Hasan" userId="92968fce-d4dd-4b9e-8635-66a07c9f98a7" providerId="ADAL" clId="{3A6F4128-6482-4C75-8C7D-220A75826C22}" dt="2023-07-21T15:59:39.200" v="11067"/>
          <ac:spMkLst>
            <pc:docMk/>
            <pc:sldMk cId="911563943" sldId="2146846414"/>
            <ac:spMk id="16" creationId="{FBD77573-9EF2-4C35-8285-A1CF6FBB0EA5}"/>
          </ac:spMkLst>
        </pc:spChg>
      </pc:sldChg>
      <pc:sldChg chg="addSp delSp modSp add mod setBg setClrOvrMap delDesignElem">
        <pc:chgData name="Md Fahim Hasan" userId="92968fce-d4dd-4b9e-8635-66a07c9f98a7" providerId="ADAL" clId="{3A6F4128-6482-4C75-8C7D-220A75826C22}" dt="2023-07-28T17:34:45.152" v="39054" actId="27636"/>
        <pc:sldMkLst>
          <pc:docMk/>
          <pc:sldMk cId="2150827024" sldId="2146846414"/>
        </pc:sldMkLst>
        <pc:spChg chg="mod">
          <ac:chgData name="Md Fahim Hasan" userId="92968fce-d4dd-4b9e-8635-66a07c9f98a7" providerId="ADAL" clId="{3A6F4128-6482-4C75-8C7D-220A75826C22}" dt="2023-07-27T15:51:58.279" v="35706"/>
          <ac:spMkLst>
            <pc:docMk/>
            <pc:sldMk cId="2150827024" sldId="2146846414"/>
            <ac:spMk id="2" creationId="{019A87F5-EE45-8C3C-1DEA-E953C11457DE}"/>
          </ac:spMkLst>
        </pc:spChg>
        <pc:spChg chg="del">
          <ac:chgData name="Md Fahim Hasan" userId="92968fce-d4dd-4b9e-8635-66a07c9f98a7" providerId="ADAL" clId="{3A6F4128-6482-4C75-8C7D-220A75826C22}" dt="2023-07-21T16:00:48.228" v="11089" actId="478"/>
          <ac:spMkLst>
            <pc:docMk/>
            <pc:sldMk cId="2150827024" sldId="2146846414"/>
            <ac:spMk id="5" creationId="{6B0E3D4A-AE11-4EEE-47A3-F08F39D0D674}"/>
          </ac:spMkLst>
        </pc:spChg>
        <pc:spChg chg="mod">
          <ac:chgData name="Md Fahim Hasan" userId="92968fce-d4dd-4b9e-8635-66a07c9f98a7" providerId="ADAL" clId="{3A6F4128-6482-4C75-8C7D-220A75826C22}" dt="2023-07-28T17:34:45.152" v="39054" actId="27636"/>
          <ac:spMkLst>
            <pc:docMk/>
            <pc:sldMk cId="2150827024" sldId="2146846414"/>
            <ac:spMk id="9" creationId="{DCE765C9-F866-A10C-05BC-B0F5CF7D4FA9}"/>
          </ac:spMkLst>
        </pc:spChg>
        <pc:spChg chg="del">
          <ac:chgData name="Md Fahim Hasan" userId="92968fce-d4dd-4b9e-8635-66a07c9f98a7" providerId="ADAL" clId="{3A6F4128-6482-4C75-8C7D-220A75826C22}" dt="2023-07-21T16:00:30.699" v="11074"/>
          <ac:spMkLst>
            <pc:docMk/>
            <pc:sldMk cId="2150827024" sldId="2146846414"/>
            <ac:spMk id="14" creationId="{17718681-A12E-49D6-9925-DD7C68176D61}"/>
          </ac:spMkLst>
        </pc:spChg>
        <pc:spChg chg="del">
          <ac:chgData name="Md Fahim Hasan" userId="92968fce-d4dd-4b9e-8635-66a07c9f98a7" providerId="ADAL" clId="{3A6F4128-6482-4C75-8C7D-220A75826C22}" dt="2023-07-21T16:00:30.699" v="11074"/>
          <ac:spMkLst>
            <pc:docMk/>
            <pc:sldMk cId="2150827024" sldId="2146846414"/>
            <ac:spMk id="16" creationId="{FBD77573-9EF2-4C35-8285-A1CF6FBB0EA5}"/>
          </ac:spMkLst>
        </pc:spChg>
        <pc:spChg chg="add del">
          <ac:chgData name="Md Fahim Hasan" userId="92968fce-d4dd-4b9e-8635-66a07c9f98a7" providerId="ADAL" clId="{3A6F4128-6482-4C75-8C7D-220A75826C22}" dt="2023-07-21T16:01:12.594" v="11091" actId="26606"/>
          <ac:spMkLst>
            <pc:docMk/>
            <pc:sldMk cId="2150827024" sldId="2146846414"/>
            <ac:spMk id="20" creationId="{66B332A4-D438-4773-A77F-5ED49A448D9D}"/>
          </ac:spMkLst>
        </pc:spChg>
        <pc:spChg chg="add del">
          <ac:chgData name="Md Fahim Hasan" userId="92968fce-d4dd-4b9e-8635-66a07c9f98a7" providerId="ADAL" clId="{3A6F4128-6482-4C75-8C7D-220A75826C22}" dt="2023-07-21T16:01:12.594" v="11091" actId="26606"/>
          <ac:spMkLst>
            <pc:docMk/>
            <pc:sldMk cId="2150827024" sldId="2146846414"/>
            <ac:spMk id="22" creationId="{DF9AD32D-FF05-44F4-BD4D-9CEE89B71EB9}"/>
          </ac:spMkLst>
        </pc:spChg>
        <pc:spChg chg="add del">
          <ac:chgData name="Md Fahim Hasan" userId="92968fce-d4dd-4b9e-8635-66a07c9f98a7" providerId="ADAL" clId="{3A6F4128-6482-4C75-8C7D-220A75826C22}" dt="2023-07-21T16:01:13.747" v="11093" actId="26606"/>
          <ac:spMkLst>
            <pc:docMk/>
            <pc:sldMk cId="2150827024" sldId="2146846414"/>
            <ac:spMk id="32" creationId="{A8DB9CD9-59B1-4D73-BC4C-98796A48EF9B}"/>
          </ac:spMkLst>
        </pc:spChg>
        <pc:spChg chg="add del">
          <ac:chgData name="Md Fahim Hasan" userId="92968fce-d4dd-4b9e-8635-66a07c9f98a7" providerId="ADAL" clId="{3A6F4128-6482-4C75-8C7D-220A75826C22}" dt="2023-07-21T16:01:13.747" v="11093" actId="26606"/>
          <ac:spMkLst>
            <pc:docMk/>
            <pc:sldMk cId="2150827024" sldId="2146846414"/>
            <ac:spMk id="33" creationId="{8874A6A9-41FF-4E33-AFA8-F9F81436A59E}"/>
          </ac:spMkLst>
        </pc:spChg>
        <pc:spChg chg="add del">
          <ac:chgData name="Md Fahim Hasan" userId="92968fce-d4dd-4b9e-8635-66a07c9f98a7" providerId="ADAL" clId="{3A6F4128-6482-4C75-8C7D-220A75826C22}" dt="2023-07-21T16:01:18.128" v="11095" actId="26606"/>
          <ac:spMkLst>
            <pc:docMk/>
            <pc:sldMk cId="2150827024" sldId="2146846414"/>
            <ac:spMk id="35" creationId="{FFD48BC7-DC40-47DE-87EE-9F4B6ECB9ABB}"/>
          </ac:spMkLst>
        </pc:spChg>
        <pc:spChg chg="add del">
          <ac:chgData name="Md Fahim Hasan" userId="92968fce-d4dd-4b9e-8635-66a07c9f98a7" providerId="ADAL" clId="{3A6F4128-6482-4C75-8C7D-220A75826C22}" dt="2023-07-21T16:01:18.128" v="11095" actId="26606"/>
          <ac:spMkLst>
            <pc:docMk/>
            <pc:sldMk cId="2150827024" sldId="2146846414"/>
            <ac:spMk id="36" creationId="{E502BBC7-2C76-46F3-BC24-5985BC13DB88}"/>
          </ac:spMkLst>
        </pc:spChg>
        <pc:spChg chg="add del">
          <ac:chgData name="Md Fahim Hasan" userId="92968fce-d4dd-4b9e-8635-66a07c9f98a7" providerId="ADAL" clId="{3A6F4128-6482-4C75-8C7D-220A75826C22}" dt="2023-07-21T16:01:18.128" v="11095" actId="26606"/>
          <ac:spMkLst>
            <pc:docMk/>
            <pc:sldMk cId="2150827024" sldId="2146846414"/>
            <ac:spMk id="37" creationId="{C7F28D52-2A5F-4D23-81AE-7CB8B591C7AF}"/>
          </ac:spMkLst>
        </pc:spChg>
        <pc:spChg chg="add del">
          <ac:chgData name="Md Fahim Hasan" userId="92968fce-d4dd-4b9e-8635-66a07c9f98a7" providerId="ADAL" clId="{3A6F4128-6482-4C75-8C7D-220A75826C22}" dt="2023-07-21T16:01:18.128" v="11095" actId="26606"/>
          <ac:spMkLst>
            <pc:docMk/>
            <pc:sldMk cId="2150827024" sldId="2146846414"/>
            <ac:spMk id="38" creationId="{3629484E-3792-4B3D-89AD-7C8A1ED0E0D4}"/>
          </ac:spMkLst>
        </pc:spChg>
        <pc:spChg chg="add del">
          <ac:chgData name="Md Fahim Hasan" userId="92968fce-d4dd-4b9e-8635-66a07c9f98a7" providerId="ADAL" clId="{3A6F4128-6482-4C75-8C7D-220A75826C22}" dt="2023-07-21T16:01:22.593" v="11097" actId="26606"/>
          <ac:spMkLst>
            <pc:docMk/>
            <pc:sldMk cId="2150827024" sldId="2146846414"/>
            <ac:spMk id="40" creationId="{73A25D70-4A55-4F72-B9C5-A69CDBF4DB42}"/>
          </ac:spMkLst>
        </pc:spChg>
        <pc:spChg chg="add del">
          <ac:chgData name="Md Fahim Hasan" userId="92968fce-d4dd-4b9e-8635-66a07c9f98a7" providerId="ADAL" clId="{3A6F4128-6482-4C75-8C7D-220A75826C22}" dt="2023-07-21T16:01:22.593" v="11097" actId="26606"/>
          <ac:spMkLst>
            <pc:docMk/>
            <pc:sldMk cId="2150827024" sldId="2146846414"/>
            <ac:spMk id="41" creationId="{54957100-6D8B-4161-9F2F-C0A949EC84C4}"/>
          </ac:spMkLst>
        </pc:spChg>
        <pc:spChg chg="add del">
          <ac:chgData name="Md Fahim Hasan" userId="92968fce-d4dd-4b9e-8635-66a07c9f98a7" providerId="ADAL" clId="{3A6F4128-6482-4C75-8C7D-220A75826C22}" dt="2023-07-21T16:01:22.593" v="11097" actId="26606"/>
          <ac:spMkLst>
            <pc:docMk/>
            <pc:sldMk cId="2150827024" sldId="2146846414"/>
            <ac:spMk id="42" creationId="{0BD8B065-EE51-4AE2-A94C-86249998FD7B}"/>
          </ac:spMkLst>
        </pc:spChg>
        <pc:spChg chg="add del">
          <ac:chgData name="Md Fahim Hasan" userId="92968fce-d4dd-4b9e-8635-66a07c9f98a7" providerId="ADAL" clId="{3A6F4128-6482-4C75-8C7D-220A75826C22}" dt="2023-07-21T16:01:23.106" v="11099" actId="26606"/>
          <ac:spMkLst>
            <pc:docMk/>
            <pc:sldMk cId="2150827024" sldId="2146846414"/>
            <ac:spMk id="48" creationId="{54A6836E-C603-43CB-9DA7-89D8E3FA3838}"/>
          </ac:spMkLst>
        </pc:spChg>
        <pc:spChg chg="add del">
          <ac:chgData name="Md Fahim Hasan" userId="92968fce-d4dd-4b9e-8635-66a07c9f98a7" providerId="ADAL" clId="{3A6F4128-6482-4C75-8C7D-220A75826C22}" dt="2023-07-21T16:01:23.106" v="11099" actId="26606"/>
          <ac:spMkLst>
            <pc:docMk/>
            <pc:sldMk cId="2150827024" sldId="2146846414"/>
            <ac:spMk id="49" creationId="{296007DD-F9BF-4F0F-B8C6-C514B2841971}"/>
          </ac:spMkLst>
        </pc:spChg>
        <pc:spChg chg="add del">
          <ac:chgData name="Md Fahim Hasan" userId="92968fce-d4dd-4b9e-8635-66a07c9f98a7" providerId="ADAL" clId="{3A6F4128-6482-4C75-8C7D-220A75826C22}" dt="2023-07-21T16:01:24.314" v="11101" actId="26606"/>
          <ac:spMkLst>
            <pc:docMk/>
            <pc:sldMk cId="2150827024" sldId="2146846414"/>
            <ac:spMk id="59" creationId="{934F1179-B481-4F9E-BCA3-AFB972070F83}"/>
          </ac:spMkLst>
        </pc:spChg>
        <pc:spChg chg="add del">
          <ac:chgData name="Md Fahim Hasan" userId="92968fce-d4dd-4b9e-8635-66a07c9f98a7" providerId="ADAL" clId="{3A6F4128-6482-4C75-8C7D-220A75826C22}" dt="2023-07-21T16:01:24.314" v="11101" actId="26606"/>
          <ac:spMkLst>
            <pc:docMk/>
            <pc:sldMk cId="2150827024" sldId="2146846414"/>
            <ac:spMk id="60" creationId="{827DC2C4-B485-428A-BF4A-472D2967F47F}"/>
          </ac:spMkLst>
        </pc:spChg>
        <pc:spChg chg="add del">
          <ac:chgData name="Md Fahim Hasan" userId="92968fce-d4dd-4b9e-8635-66a07c9f98a7" providerId="ADAL" clId="{3A6F4128-6482-4C75-8C7D-220A75826C22}" dt="2023-07-21T16:01:24.314" v="11101" actId="26606"/>
          <ac:spMkLst>
            <pc:docMk/>
            <pc:sldMk cId="2150827024" sldId="2146846414"/>
            <ac:spMk id="61" creationId="{EE04B5EB-F158-4507-90DD-BD23620C7CC9}"/>
          </ac:spMkLst>
        </pc:spChg>
        <pc:spChg chg="add del">
          <ac:chgData name="Md Fahim Hasan" userId="92968fce-d4dd-4b9e-8635-66a07c9f98a7" providerId="ADAL" clId="{3A6F4128-6482-4C75-8C7D-220A75826C22}" dt="2023-07-21T16:01:28.523" v="11103" actId="26606"/>
          <ac:spMkLst>
            <pc:docMk/>
            <pc:sldMk cId="2150827024" sldId="2146846414"/>
            <ac:spMk id="63" creationId="{5A292AEA-2528-46C0-B426-95822B6141FB}"/>
          </ac:spMkLst>
        </pc:spChg>
        <pc:spChg chg="add del">
          <ac:chgData name="Md Fahim Hasan" userId="92968fce-d4dd-4b9e-8635-66a07c9f98a7" providerId="ADAL" clId="{3A6F4128-6482-4C75-8C7D-220A75826C22}" dt="2023-07-21T16:01:28.523" v="11103" actId="26606"/>
          <ac:spMkLst>
            <pc:docMk/>
            <pc:sldMk cId="2150827024" sldId="2146846414"/>
            <ac:spMk id="64" creationId="{D8B7B198-E4DF-43CD-AD8C-199884323745}"/>
          </ac:spMkLst>
        </pc:spChg>
        <pc:spChg chg="add del">
          <ac:chgData name="Md Fahim Hasan" userId="92968fce-d4dd-4b9e-8635-66a07c9f98a7" providerId="ADAL" clId="{3A6F4128-6482-4C75-8C7D-220A75826C22}" dt="2023-07-21T16:01:28.523" v="11103" actId="26606"/>
          <ac:spMkLst>
            <pc:docMk/>
            <pc:sldMk cId="2150827024" sldId="2146846414"/>
            <ac:spMk id="65" creationId="{2BE67753-EA0E-4819-8D22-0B6600CF7231}"/>
          </ac:spMkLst>
        </pc:spChg>
        <pc:spChg chg="add del">
          <ac:chgData name="Md Fahim Hasan" userId="92968fce-d4dd-4b9e-8635-66a07c9f98a7" providerId="ADAL" clId="{3A6F4128-6482-4C75-8C7D-220A75826C22}" dt="2023-07-21T16:01:32.494" v="11105" actId="26606"/>
          <ac:spMkLst>
            <pc:docMk/>
            <pc:sldMk cId="2150827024" sldId="2146846414"/>
            <ac:spMk id="77" creationId="{3AC75B1D-4749-49A1-8553-FD296DD7CC9F}"/>
          </ac:spMkLst>
        </pc:spChg>
        <pc:spChg chg="add del">
          <ac:chgData name="Md Fahim Hasan" userId="92968fce-d4dd-4b9e-8635-66a07c9f98a7" providerId="ADAL" clId="{3A6F4128-6482-4C75-8C7D-220A75826C22}" dt="2023-07-21T16:01:32.494" v="11105" actId="26606"/>
          <ac:spMkLst>
            <pc:docMk/>
            <pc:sldMk cId="2150827024" sldId="2146846414"/>
            <ac:spMk id="78" creationId="{9A8ECCF6-3858-46C9-8F9F-C06506CC3F9F}"/>
          </ac:spMkLst>
        </pc:spChg>
        <pc:spChg chg="add del">
          <ac:chgData name="Md Fahim Hasan" userId="92968fce-d4dd-4b9e-8635-66a07c9f98a7" providerId="ADAL" clId="{3A6F4128-6482-4C75-8C7D-220A75826C22}" dt="2023-07-27T15:51:58.279" v="35706"/>
          <ac:spMkLst>
            <pc:docMk/>
            <pc:sldMk cId="2150827024" sldId="2146846414"/>
            <ac:spMk id="80" creationId="{35F60170-91B4-45F0-B88B-9C07AEC4642C}"/>
          </ac:spMkLst>
        </pc:spChg>
        <pc:spChg chg="add del">
          <ac:chgData name="Md Fahim Hasan" userId="92968fce-d4dd-4b9e-8635-66a07c9f98a7" providerId="ADAL" clId="{3A6F4128-6482-4C75-8C7D-220A75826C22}" dt="2023-07-27T15:51:58.279" v="35706"/>
          <ac:spMkLst>
            <pc:docMk/>
            <pc:sldMk cId="2150827024" sldId="2146846414"/>
            <ac:spMk id="81" creationId="{2C7D7C94-41C0-4614-8A18-941174D4D2AF}"/>
          </ac:spMkLst>
        </pc:spChg>
        <pc:grpChg chg="add del">
          <ac:chgData name="Md Fahim Hasan" userId="92968fce-d4dd-4b9e-8635-66a07c9f98a7" providerId="ADAL" clId="{3A6F4128-6482-4C75-8C7D-220A75826C22}" dt="2023-07-21T16:01:13.747" v="11093" actId="26606"/>
          <ac:grpSpMkLst>
            <pc:docMk/>
            <pc:sldMk cId="2150827024" sldId="2146846414"/>
            <ac:grpSpMk id="24" creationId="{721D730E-1F97-4071-B143-B05E6D2599BC}"/>
          </ac:grpSpMkLst>
        </pc:grpChg>
        <pc:grpChg chg="add del">
          <ac:chgData name="Md Fahim Hasan" userId="92968fce-d4dd-4b9e-8635-66a07c9f98a7" providerId="ADAL" clId="{3A6F4128-6482-4C75-8C7D-220A75826C22}" dt="2023-07-21T16:01:22.593" v="11097" actId="26606"/>
          <ac:grpSpMkLst>
            <pc:docMk/>
            <pc:sldMk cId="2150827024" sldId="2146846414"/>
            <ac:grpSpMk id="26" creationId="{18999293-B054-4B57-A26F-D04C2BB11338}"/>
          </ac:grpSpMkLst>
        </pc:grpChg>
        <pc:grpChg chg="add del">
          <ac:chgData name="Md Fahim Hasan" userId="92968fce-d4dd-4b9e-8635-66a07c9f98a7" providerId="ADAL" clId="{3A6F4128-6482-4C75-8C7D-220A75826C22}" dt="2023-07-27T15:51:58.279" v="35706"/>
          <ac:grpSpMkLst>
            <pc:docMk/>
            <pc:sldMk cId="2150827024" sldId="2146846414"/>
            <ac:grpSpMk id="28" creationId="{65B3D45F-509E-43F3-B685-A5E78AD0D820}"/>
          </ac:grpSpMkLst>
        </pc:grpChg>
        <pc:grpChg chg="add del">
          <ac:chgData name="Md Fahim Hasan" userId="92968fce-d4dd-4b9e-8635-66a07c9f98a7" providerId="ADAL" clId="{3A6F4128-6482-4C75-8C7D-220A75826C22}" dt="2023-07-21T16:01:22.593" v="11097" actId="26606"/>
          <ac:grpSpMkLst>
            <pc:docMk/>
            <pc:sldMk cId="2150827024" sldId="2146846414"/>
            <ac:grpSpMk id="43" creationId="{761945C4-D997-42F3-B59A-984CF0066715}"/>
          </ac:grpSpMkLst>
        </pc:grpChg>
        <pc:grpChg chg="add del">
          <ac:chgData name="Md Fahim Hasan" userId="92968fce-d4dd-4b9e-8635-66a07c9f98a7" providerId="ADAL" clId="{3A6F4128-6482-4C75-8C7D-220A75826C22}" dt="2023-07-21T16:01:23.106" v="11099" actId="26606"/>
          <ac:grpSpMkLst>
            <pc:docMk/>
            <pc:sldMk cId="2150827024" sldId="2146846414"/>
            <ac:grpSpMk id="50" creationId="{8A0FAFCA-5C96-453B-83B7-A9AEF7F18960}"/>
          </ac:grpSpMkLst>
        </pc:grpChg>
        <pc:grpChg chg="add del">
          <ac:chgData name="Md Fahim Hasan" userId="92968fce-d4dd-4b9e-8635-66a07c9f98a7" providerId="ADAL" clId="{3A6F4128-6482-4C75-8C7D-220A75826C22}" dt="2023-07-21T16:01:23.106" v="11099" actId="26606"/>
          <ac:grpSpMkLst>
            <pc:docMk/>
            <pc:sldMk cId="2150827024" sldId="2146846414"/>
            <ac:grpSpMk id="54" creationId="{CD0398DD-AD75-4E2B-A3C6-35073082A8B4}"/>
          </ac:grpSpMkLst>
        </pc:grpChg>
        <pc:grpChg chg="add del">
          <ac:chgData name="Md Fahim Hasan" userId="92968fce-d4dd-4b9e-8635-66a07c9f98a7" providerId="ADAL" clId="{3A6F4128-6482-4C75-8C7D-220A75826C22}" dt="2023-07-21T16:01:28.523" v="11103" actId="26606"/>
          <ac:grpSpMkLst>
            <pc:docMk/>
            <pc:sldMk cId="2150827024" sldId="2146846414"/>
            <ac:grpSpMk id="66" creationId="{D76D63AC-0421-45EC-B383-E79A61A78C6B}"/>
          </ac:grpSpMkLst>
        </pc:grpChg>
        <pc:grpChg chg="add del">
          <ac:chgData name="Md Fahim Hasan" userId="92968fce-d4dd-4b9e-8635-66a07c9f98a7" providerId="ADAL" clId="{3A6F4128-6482-4C75-8C7D-220A75826C22}" dt="2023-07-21T16:01:28.523" v="11103" actId="26606"/>
          <ac:grpSpMkLst>
            <pc:docMk/>
            <pc:sldMk cId="2150827024" sldId="2146846414"/>
            <ac:grpSpMk id="69" creationId="{87F87F1B-42BA-4AC7-A4E2-41544DDB2CE3}"/>
          </ac:grpSpMkLst>
        </pc:grpChg>
        <pc:grpChg chg="add del">
          <ac:chgData name="Md Fahim Hasan" userId="92968fce-d4dd-4b9e-8635-66a07c9f98a7" providerId="ADAL" clId="{3A6F4128-6482-4C75-8C7D-220A75826C22}" dt="2023-07-21T16:01:28.523" v="11103" actId="26606"/>
          <ac:grpSpMkLst>
            <pc:docMk/>
            <pc:sldMk cId="2150827024" sldId="2146846414"/>
            <ac:grpSpMk id="73" creationId="{967346A5-7569-4F15-AB5D-BE3DADF192C0}"/>
          </ac:grpSpMkLst>
        </pc:grpChg>
        <pc:picChg chg="del">
          <ac:chgData name="Md Fahim Hasan" userId="92968fce-d4dd-4b9e-8635-66a07c9f98a7" providerId="ADAL" clId="{3A6F4128-6482-4C75-8C7D-220A75826C22}" dt="2023-07-27T15:53:23.206" v="35718" actId="478"/>
          <ac:picMkLst>
            <pc:docMk/>
            <pc:sldMk cId="2150827024" sldId="2146846414"/>
            <ac:picMk id="15" creationId="{B0F7B2C1-02FD-AB52-1E28-5A1C0EE1123A}"/>
          </ac:picMkLst>
        </pc:picChg>
        <pc:cxnChg chg="add mod">
          <ac:chgData name="Md Fahim Hasan" userId="92968fce-d4dd-4b9e-8635-66a07c9f98a7" providerId="ADAL" clId="{3A6F4128-6482-4C75-8C7D-220A75826C22}" dt="2023-07-27T15:55:56.076" v="35739"/>
          <ac:cxnSpMkLst>
            <pc:docMk/>
            <pc:sldMk cId="2150827024" sldId="2146846414"/>
            <ac:cxnSpMk id="3" creationId="{7273D0A7-41A2-E613-710D-6DA59FD2EF65}"/>
          </ac:cxnSpMkLst>
        </pc:cxnChg>
        <pc:cxnChg chg="add del">
          <ac:chgData name="Md Fahim Hasan" userId="92968fce-d4dd-4b9e-8635-66a07c9f98a7" providerId="ADAL" clId="{3A6F4128-6482-4C75-8C7D-220A75826C22}" dt="2023-07-27T15:51:58.279" v="35706"/>
          <ac:cxnSpMkLst>
            <pc:docMk/>
            <pc:sldMk cId="2150827024" sldId="2146846414"/>
            <ac:cxnSpMk id="82" creationId="{61F6FBC1-6409-4059-B87B-1BE513242FE6}"/>
          </ac:cxnSpMkLst>
        </pc:cxnChg>
        <pc:cxnChg chg="add del">
          <ac:chgData name="Md Fahim Hasan" userId="92968fce-d4dd-4b9e-8635-66a07c9f98a7" providerId="ADAL" clId="{3A6F4128-6482-4C75-8C7D-220A75826C22}" dt="2023-07-27T15:51:58.279" v="35706"/>
          <ac:cxnSpMkLst>
            <pc:docMk/>
            <pc:sldMk cId="2150827024" sldId="2146846414"/>
            <ac:cxnSpMk id="83" creationId="{E6A98E26-C7DC-48E3-8F50-FBF7F3C50F4C}"/>
          </ac:cxnSpMkLst>
        </pc:cxnChg>
      </pc:sldChg>
      <pc:sldChg chg="addSp delSp modSp add mod setBg delDesignElem delCm modCm">
        <pc:chgData name="Md Fahim Hasan" userId="92968fce-d4dd-4b9e-8635-66a07c9f98a7" providerId="ADAL" clId="{3A6F4128-6482-4C75-8C7D-220A75826C22}" dt="2023-07-27T20:01:48.353" v="37679"/>
        <pc:sldMkLst>
          <pc:docMk/>
          <pc:sldMk cId="501913928" sldId="2146846415"/>
        </pc:sldMkLst>
        <pc:spChg chg="mod">
          <ac:chgData name="Md Fahim Hasan" userId="92968fce-d4dd-4b9e-8635-66a07c9f98a7" providerId="ADAL" clId="{3A6F4128-6482-4C75-8C7D-220A75826C22}" dt="2023-07-27T15:51:58.279" v="35706"/>
          <ac:spMkLst>
            <pc:docMk/>
            <pc:sldMk cId="501913928" sldId="2146846415"/>
            <ac:spMk id="2" creationId="{9619A94D-10F3-1522-3B83-A842AFB54B8D}"/>
          </ac:spMkLst>
        </pc:spChg>
        <pc:spChg chg="mod">
          <ac:chgData name="Md Fahim Hasan" userId="92968fce-d4dd-4b9e-8635-66a07c9f98a7" providerId="ADAL" clId="{3A6F4128-6482-4C75-8C7D-220A75826C22}" dt="2023-07-27T15:55:21.870" v="35732" actId="115"/>
          <ac:spMkLst>
            <pc:docMk/>
            <pc:sldMk cId="501913928" sldId="2146846415"/>
            <ac:spMk id="9" creationId="{DCE765C9-F866-A10C-05BC-B0F5CF7D4FA9}"/>
          </ac:spMkLst>
        </pc:spChg>
        <pc:spChg chg="add del">
          <ac:chgData name="Md Fahim Hasan" userId="92968fce-d4dd-4b9e-8635-66a07c9f98a7" providerId="ADAL" clId="{3A6F4128-6482-4C75-8C7D-220A75826C22}" dt="2023-07-27T15:51:58.279" v="35706"/>
          <ac:spMkLst>
            <pc:docMk/>
            <pc:sldMk cId="501913928" sldId="2146846415"/>
            <ac:spMk id="20" creationId="{35F60170-91B4-45F0-B88B-9C07AEC4642C}"/>
          </ac:spMkLst>
        </pc:spChg>
        <pc:spChg chg="add del">
          <ac:chgData name="Md Fahim Hasan" userId="92968fce-d4dd-4b9e-8635-66a07c9f98a7" providerId="ADAL" clId="{3A6F4128-6482-4C75-8C7D-220A75826C22}" dt="2023-07-27T15:51:58.279" v="35706"/>
          <ac:spMkLst>
            <pc:docMk/>
            <pc:sldMk cId="501913928" sldId="2146846415"/>
            <ac:spMk id="22" creationId="{2C7D7C94-41C0-4614-8A18-941174D4D2AF}"/>
          </ac:spMkLst>
        </pc:spChg>
        <pc:spChg chg="del">
          <ac:chgData name="Md Fahim Hasan" userId="92968fce-d4dd-4b9e-8635-66a07c9f98a7" providerId="ADAL" clId="{3A6F4128-6482-4C75-8C7D-220A75826C22}" dt="2023-07-21T16:02:00.352" v="11111"/>
          <ac:spMkLst>
            <pc:docMk/>
            <pc:sldMk cId="501913928" sldId="2146846415"/>
            <ac:spMk id="80" creationId="{35F60170-91B4-45F0-B88B-9C07AEC4642C}"/>
          </ac:spMkLst>
        </pc:spChg>
        <pc:spChg chg="del">
          <ac:chgData name="Md Fahim Hasan" userId="92968fce-d4dd-4b9e-8635-66a07c9f98a7" providerId="ADAL" clId="{3A6F4128-6482-4C75-8C7D-220A75826C22}" dt="2023-07-21T16:02:00.352" v="11111"/>
          <ac:spMkLst>
            <pc:docMk/>
            <pc:sldMk cId="501913928" sldId="2146846415"/>
            <ac:spMk id="81" creationId="{2C7D7C94-41C0-4614-8A18-941174D4D2AF}"/>
          </ac:spMkLst>
        </pc:spChg>
        <pc:grpChg chg="add del">
          <ac:chgData name="Md Fahim Hasan" userId="92968fce-d4dd-4b9e-8635-66a07c9f98a7" providerId="ADAL" clId="{3A6F4128-6482-4C75-8C7D-220A75826C22}" dt="2023-07-27T15:51:58.279" v="35706"/>
          <ac:grpSpMkLst>
            <pc:docMk/>
            <pc:sldMk cId="501913928" sldId="2146846415"/>
            <ac:grpSpMk id="17" creationId="{65B3D45F-509E-43F3-B685-A5E78AD0D820}"/>
          </ac:grpSpMkLst>
        </pc:grpChg>
        <pc:grpChg chg="del">
          <ac:chgData name="Md Fahim Hasan" userId="92968fce-d4dd-4b9e-8635-66a07c9f98a7" providerId="ADAL" clId="{3A6F4128-6482-4C75-8C7D-220A75826C22}" dt="2023-07-21T16:02:00.352" v="11111"/>
          <ac:grpSpMkLst>
            <pc:docMk/>
            <pc:sldMk cId="501913928" sldId="2146846415"/>
            <ac:grpSpMk id="28" creationId="{65B3D45F-509E-43F3-B685-A5E78AD0D820}"/>
          </ac:grpSpMkLst>
        </pc:grpChg>
        <pc:picChg chg="del">
          <ac:chgData name="Md Fahim Hasan" userId="92968fce-d4dd-4b9e-8635-66a07c9f98a7" providerId="ADAL" clId="{3A6F4128-6482-4C75-8C7D-220A75826C22}" dt="2023-07-27T15:55:11.951" v="35730" actId="478"/>
          <ac:picMkLst>
            <pc:docMk/>
            <pc:sldMk cId="501913928" sldId="2146846415"/>
            <ac:picMk id="15" creationId="{B0F7B2C1-02FD-AB52-1E28-5A1C0EE1123A}"/>
          </ac:picMkLst>
        </pc:picChg>
        <pc:cxnChg chg="add mod">
          <ac:chgData name="Md Fahim Hasan" userId="92968fce-d4dd-4b9e-8635-66a07c9f98a7" providerId="ADAL" clId="{3A6F4128-6482-4C75-8C7D-220A75826C22}" dt="2023-07-27T15:55:54.256" v="35738"/>
          <ac:cxnSpMkLst>
            <pc:docMk/>
            <pc:sldMk cId="501913928" sldId="2146846415"/>
            <ac:cxnSpMk id="3" creationId="{416952F7-7C49-FE2E-C801-193C7F10F654}"/>
          </ac:cxnSpMkLst>
        </pc:cxnChg>
        <pc:cxnChg chg="add del">
          <ac:chgData name="Md Fahim Hasan" userId="92968fce-d4dd-4b9e-8635-66a07c9f98a7" providerId="ADAL" clId="{3A6F4128-6482-4C75-8C7D-220A75826C22}" dt="2023-07-27T15:51:58.279" v="35706"/>
          <ac:cxnSpMkLst>
            <pc:docMk/>
            <pc:sldMk cId="501913928" sldId="2146846415"/>
            <ac:cxnSpMk id="24" creationId="{61F6FBC1-6409-4059-B87B-1BE513242FE6}"/>
          </ac:cxnSpMkLst>
        </pc:cxnChg>
        <pc:cxnChg chg="add del">
          <ac:chgData name="Md Fahim Hasan" userId="92968fce-d4dd-4b9e-8635-66a07c9f98a7" providerId="ADAL" clId="{3A6F4128-6482-4C75-8C7D-220A75826C22}" dt="2023-07-27T15:51:58.279" v="35706"/>
          <ac:cxnSpMkLst>
            <pc:docMk/>
            <pc:sldMk cId="501913928" sldId="2146846415"/>
            <ac:cxnSpMk id="26" creationId="{E6A98E26-C7DC-48E3-8F50-FBF7F3C50F4C}"/>
          </ac:cxnSpMkLst>
        </pc:cxnChg>
        <pc:cxnChg chg="del">
          <ac:chgData name="Md Fahim Hasan" userId="92968fce-d4dd-4b9e-8635-66a07c9f98a7" providerId="ADAL" clId="{3A6F4128-6482-4C75-8C7D-220A75826C22}" dt="2023-07-21T16:02:00.352" v="11111"/>
          <ac:cxnSpMkLst>
            <pc:docMk/>
            <pc:sldMk cId="501913928" sldId="2146846415"/>
            <ac:cxnSpMk id="82" creationId="{61F6FBC1-6409-4059-B87B-1BE513242FE6}"/>
          </ac:cxnSpMkLst>
        </pc:cxnChg>
        <pc:cxnChg chg="del">
          <ac:chgData name="Md Fahim Hasan" userId="92968fce-d4dd-4b9e-8635-66a07c9f98a7" providerId="ADAL" clId="{3A6F4128-6482-4C75-8C7D-220A75826C22}" dt="2023-07-21T16:02:00.352" v="11111"/>
          <ac:cxnSpMkLst>
            <pc:docMk/>
            <pc:sldMk cId="501913928" sldId="2146846415"/>
            <ac:cxnSpMk id="83" creationId="{E6A98E26-C7DC-48E3-8F50-FBF7F3C50F4C}"/>
          </ac:cxnSpMkLst>
        </pc:cxnChg>
      </pc:sldChg>
      <pc:sldChg chg="addSp delSp modSp add mod ord setBg delDesignElem">
        <pc:chgData name="Md Fahim Hasan" userId="92968fce-d4dd-4b9e-8635-66a07c9f98a7" providerId="ADAL" clId="{3A6F4128-6482-4C75-8C7D-220A75826C22}" dt="2023-07-27T20:29:31.681" v="38000" actId="20577"/>
        <pc:sldMkLst>
          <pc:docMk/>
          <pc:sldMk cId="3186043782" sldId="2146846416"/>
        </pc:sldMkLst>
        <pc:spChg chg="mod">
          <ac:chgData name="Md Fahim Hasan" userId="92968fce-d4dd-4b9e-8635-66a07c9f98a7" providerId="ADAL" clId="{3A6F4128-6482-4C75-8C7D-220A75826C22}" dt="2023-07-27T15:51:58.279" v="35706"/>
          <ac:spMkLst>
            <pc:docMk/>
            <pc:sldMk cId="3186043782" sldId="2146846416"/>
            <ac:spMk id="2" creationId="{A47F22BB-216E-F8C1-A74B-A69867F0B962}"/>
          </ac:spMkLst>
        </pc:spChg>
        <pc:spChg chg="mod">
          <ac:chgData name="Md Fahim Hasan" userId="92968fce-d4dd-4b9e-8635-66a07c9f98a7" providerId="ADAL" clId="{3A6F4128-6482-4C75-8C7D-220A75826C22}" dt="2023-07-27T20:29:31.681" v="38000" actId="20577"/>
          <ac:spMkLst>
            <pc:docMk/>
            <pc:sldMk cId="3186043782" sldId="2146846416"/>
            <ac:spMk id="9" creationId="{DCE765C9-F866-A10C-05BC-B0F5CF7D4FA9}"/>
          </ac:spMkLst>
        </pc:spChg>
        <pc:spChg chg="add del">
          <ac:chgData name="Md Fahim Hasan" userId="92968fce-d4dd-4b9e-8635-66a07c9f98a7" providerId="ADAL" clId="{3A6F4128-6482-4C75-8C7D-220A75826C22}" dt="2023-07-21T16:03:46.251" v="11140" actId="26606"/>
          <ac:spMkLst>
            <pc:docMk/>
            <pc:sldMk cId="3186043782" sldId="2146846416"/>
            <ac:spMk id="14" creationId="{35F60170-91B4-45F0-B88B-9C07AEC4642C}"/>
          </ac:spMkLst>
        </pc:spChg>
        <pc:spChg chg="add del">
          <ac:chgData name="Md Fahim Hasan" userId="92968fce-d4dd-4b9e-8635-66a07c9f98a7" providerId="ADAL" clId="{3A6F4128-6482-4C75-8C7D-220A75826C22}" dt="2023-07-21T16:03:46.251" v="11140" actId="26606"/>
          <ac:spMkLst>
            <pc:docMk/>
            <pc:sldMk cId="3186043782" sldId="2146846416"/>
            <ac:spMk id="16" creationId="{2C7D7C94-41C0-4614-8A18-941174D4D2AF}"/>
          </ac:spMkLst>
        </pc:spChg>
        <pc:spChg chg="add del">
          <ac:chgData name="Md Fahim Hasan" userId="92968fce-d4dd-4b9e-8635-66a07c9f98a7" providerId="ADAL" clId="{3A6F4128-6482-4C75-8C7D-220A75826C22}" dt="2023-07-27T15:51:58.279" v="35706"/>
          <ac:spMkLst>
            <pc:docMk/>
            <pc:sldMk cId="3186043782" sldId="2146846416"/>
            <ac:spMk id="19" creationId="{35F60170-91B4-45F0-B88B-9C07AEC4642C}"/>
          </ac:spMkLst>
        </pc:spChg>
        <pc:spChg chg="del">
          <ac:chgData name="Md Fahim Hasan" userId="92968fce-d4dd-4b9e-8635-66a07c9f98a7" providerId="ADAL" clId="{3A6F4128-6482-4C75-8C7D-220A75826C22}" dt="2023-07-21T16:02:57.268" v="11128"/>
          <ac:spMkLst>
            <pc:docMk/>
            <pc:sldMk cId="3186043782" sldId="2146846416"/>
            <ac:spMk id="20" creationId="{35F60170-91B4-45F0-B88B-9C07AEC4642C}"/>
          </ac:spMkLst>
        </pc:spChg>
        <pc:spChg chg="add del">
          <ac:chgData name="Md Fahim Hasan" userId="92968fce-d4dd-4b9e-8635-66a07c9f98a7" providerId="ADAL" clId="{3A6F4128-6482-4C75-8C7D-220A75826C22}" dt="2023-07-27T15:51:58.279" v="35706"/>
          <ac:spMkLst>
            <pc:docMk/>
            <pc:sldMk cId="3186043782" sldId="2146846416"/>
            <ac:spMk id="21" creationId="{2C7D7C94-41C0-4614-8A18-941174D4D2AF}"/>
          </ac:spMkLst>
        </pc:spChg>
        <pc:spChg chg="del">
          <ac:chgData name="Md Fahim Hasan" userId="92968fce-d4dd-4b9e-8635-66a07c9f98a7" providerId="ADAL" clId="{3A6F4128-6482-4C75-8C7D-220A75826C22}" dt="2023-07-21T16:02:57.268" v="11128"/>
          <ac:spMkLst>
            <pc:docMk/>
            <pc:sldMk cId="3186043782" sldId="2146846416"/>
            <ac:spMk id="22" creationId="{2C7D7C94-41C0-4614-8A18-941174D4D2AF}"/>
          </ac:spMkLst>
        </pc:spChg>
        <pc:grpChg chg="add del">
          <ac:chgData name="Md Fahim Hasan" userId="92968fce-d4dd-4b9e-8635-66a07c9f98a7" providerId="ADAL" clId="{3A6F4128-6482-4C75-8C7D-220A75826C22}" dt="2023-07-21T16:03:46.251" v="11140" actId="26606"/>
          <ac:grpSpMkLst>
            <pc:docMk/>
            <pc:sldMk cId="3186043782" sldId="2146846416"/>
            <ac:grpSpMk id="12" creationId="{65B3D45F-509E-43F3-B685-A5E78AD0D820}"/>
          </ac:grpSpMkLst>
        </pc:grpChg>
        <pc:grpChg chg="del">
          <ac:chgData name="Md Fahim Hasan" userId="92968fce-d4dd-4b9e-8635-66a07c9f98a7" providerId="ADAL" clId="{3A6F4128-6482-4C75-8C7D-220A75826C22}" dt="2023-07-21T16:02:57.268" v="11128"/>
          <ac:grpSpMkLst>
            <pc:docMk/>
            <pc:sldMk cId="3186043782" sldId="2146846416"/>
            <ac:grpSpMk id="17" creationId="{65B3D45F-509E-43F3-B685-A5E78AD0D820}"/>
          </ac:grpSpMkLst>
        </pc:grpChg>
        <pc:grpChg chg="add del">
          <ac:chgData name="Md Fahim Hasan" userId="92968fce-d4dd-4b9e-8635-66a07c9f98a7" providerId="ADAL" clId="{3A6F4128-6482-4C75-8C7D-220A75826C22}" dt="2023-07-27T15:51:58.279" v="35706"/>
          <ac:grpSpMkLst>
            <pc:docMk/>
            <pc:sldMk cId="3186043782" sldId="2146846416"/>
            <ac:grpSpMk id="28" creationId="{65B3D45F-509E-43F3-B685-A5E78AD0D820}"/>
          </ac:grpSpMkLst>
        </pc:grpChg>
        <pc:picChg chg="add del">
          <ac:chgData name="Md Fahim Hasan" userId="92968fce-d4dd-4b9e-8635-66a07c9f98a7" providerId="ADAL" clId="{3A6F4128-6482-4C75-8C7D-220A75826C22}" dt="2023-07-27T15:55:31.932" v="35735" actId="478"/>
          <ac:picMkLst>
            <pc:docMk/>
            <pc:sldMk cId="3186043782" sldId="2146846416"/>
            <ac:picMk id="15" creationId="{B0F7B2C1-02FD-AB52-1E28-5A1C0EE1123A}"/>
          </ac:picMkLst>
        </pc:picChg>
        <pc:cxnChg chg="add mod">
          <ac:chgData name="Md Fahim Hasan" userId="92968fce-d4dd-4b9e-8635-66a07c9f98a7" providerId="ADAL" clId="{3A6F4128-6482-4C75-8C7D-220A75826C22}" dt="2023-07-27T15:55:51.270" v="35737"/>
          <ac:cxnSpMkLst>
            <pc:docMk/>
            <pc:sldMk cId="3186043782" sldId="2146846416"/>
            <ac:cxnSpMk id="3" creationId="{82A02A7D-C378-92E6-11FA-AEC42BEFAE49}"/>
          </ac:cxnSpMkLst>
        </pc:cxnChg>
        <pc:cxnChg chg="add del">
          <ac:chgData name="Md Fahim Hasan" userId="92968fce-d4dd-4b9e-8635-66a07c9f98a7" providerId="ADAL" clId="{3A6F4128-6482-4C75-8C7D-220A75826C22}" dt="2023-07-21T16:03:46.251" v="11140" actId="26606"/>
          <ac:cxnSpMkLst>
            <pc:docMk/>
            <pc:sldMk cId="3186043782" sldId="2146846416"/>
            <ac:cxnSpMk id="11" creationId="{E6A98E26-C7DC-48E3-8F50-FBF7F3C50F4C}"/>
          </ac:cxnSpMkLst>
        </pc:cxnChg>
        <pc:cxnChg chg="add del">
          <ac:chgData name="Md Fahim Hasan" userId="92968fce-d4dd-4b9e-8635-66a07c9f98a7" providerId="ADAL" clId="{3A6F4128-6482-4C75-8C7D-220A75826C22}" dt="2023-07-21T16:03:46.251" v="11140" actId="26606"/>
          <ac:cxnSpMkLst>
            <pc:docMk/>
            <pc:sldMk cId="3186043782" sldId="2146846416"/>
            <ac:cxnSpMk id="18" creationId="{61F6FBC1-6409-4059-B87B-1BE513242FE6}"/>
          </ac:cxnSpMkLst>
        </pc:cxnChg>
        <pc:cxnChg chg="add del">
          <ac:chgData name="Md Fahim Hasan" userId="92968fce-d4dd-4b9e-8635-66a07c9f98a7" providerId="ADAL" clId="{3A6F4128-6482-4C75-8C7D-220A75826C22}" dt="2023-07-27T15:51:58.279" v="35706"/>
          <ac:cxnSpMkLst>
            <pc:docMk/>
            <pc:sldMk cId="3186043782" sldId="2146846416"/>
            <ac:cxnSpMk id="23" creationId="{61F6FBC1-6409-4059-B87B-1BE513242FE6}"/>
          </ac:cxnSpMkLst>
        </pc:cxnChg>
        <pc:cxnChg chg="del">
          <ac:chgData name="Md Fahim Hasan" userId="92968fce-d4dd-4b9e-8635-66a07c9f98a7" providerId="ADAL" clId="{3A6F4128-6482-4C75-8C7D-220A75826C22}" dt="2023-07-21T16:02:57.268" v="11128"/>
          <ac:cxnSpMkLst>
            <pc:docMk/>
            <pc:sldMk cId="3186043782" sldId="2146846416"/>
            <ac:cxnSpMk id="24" creationId="{61F6FBC1-6409-4059-B87B-1BE513242FE6}"/>
          </ac:cxnSpMkLst>
        </pc:cxnChg>
        <pc:cxnChg chg="add del">
          <ac:chgData name="Md Fahim Hasan" userId="92968fce-d4dd-4b9e-8635-66a07c9f98a7" providerId="ADAL" clId="{3A6F4128-6482-4C75-8C7D-220A75826C22}" dt="2023-07-27T15:51:58.279" v="35706"/>
          <ac:cxnSpMkLst>
            <pc:docMk/>
            <pc:sldMk cId="3186043782" sldId="2146846416"/>
            <ac:cxnSpMk id="25" creationId="{E6A98E26-C7DC-48E3-8F50-FBF7F3C50F4C}"/>
          </ac:cxnSpMkLst>
        </pc:cxnChg>
        <pc:cxnChg chg="del">
          <ac:chgData name="Md Fahim Hasan" userId="92968fce-d4dd-4b9e-8635-66a07c9f98a7" providerId="ADAL" clId="{3A6F4128-6482-4C75-8C7D-220A75826C22}" dt="2023-07-21T16:02:57.268" v="11128"/>
          <ac:cxnSpMkLst>
            <pc:docMk/>
            <pc:sldMk cId="3186043782" sldId="2146846416"/>
            <ac:cxnSpMk id="26" creationId="{E6A98E26-C7DC-48E3-8F50-FBF7F3C50F4C}"/>
          </ac:cxnSpMkLst>
        </pc:cxnChg>
      </pc:sldChg>
      <pc:sldChg chg="addSp delSp modSp add del mod ord setBg delDesignElem">
        <pc:chgData name="Md Fahim Hasan" userId="92968fce-d4dd-4b9e-8635-66a07c9f98a7" providerId="ADAL" clId="{3A6F4128-6482-4C75-8C7D-220A75826C22}" dt="2023-07-26T21:29:12.337" v="30747" actId="47"/>
        <pc:sldMkLst>
          <pc:docMk/>
          <pc:sldMk cId="3050228371" sldId="2146846417"/>
        </pc:sldMkLst>
        <pc:spChg chg="mod">
          <ac:chgData name="Md Fahim Hasan" userId="92968fce-d4dd-4b9e-8635-66a07c9f98a7" providerId="ADAL" clId="{3A6F4128-6482-4C75-8C7D-220A75826C22}" dt="2023-07-26T21:18:24.497" v="29460" actId="20577"/>
          <ac:spMkLst>
            <pc:docMk/>
            <pc:sldMk cId="3050228371" sldId="2146846417"/>
            <ac:spMk id="9" creationId="{DCE765C9-F866-A10C-05BC-B0F5CF7D4FA9}"/>
          </ac:spMkLst>
        </pc:spChg>
        <pc:spChg chg="add">
          <ac:chgData name="Md Fahim Hasan" userId="92968fce-d4dd-4b9e-8635-66a07c9f98a7" providerId="ADAL" clId="{3A6F4128-6482-4C75-8C7D-220A75826C22}" dt="2023-07-21T16:05:24.194" v="11235" actId="26606"/>
          <ac:spMkLst>
            <pc:docMk/>
            <pc:sldMk cId="3050228371" sldId="2146846417"/>
            <ac:spMk id="18" creationId="{35F60170-91B4-45F0-B88B-9C07AEC4642C}"/>
          </ac:spMkLst>
        </pc:spChg>
        <pc:spChg chg="add">
          <ac:chgData name="Md Fahim Hasan" userId="92968fce-d4dd-4b9e-8635-66a07c9f98a7" providerId="ADAL" clId="{3A6F4128-6482-4C75-8C7D-220A75826C22}" dt="2023-07-21T16:05:24.194" v="11235" actId="26606"/>
          <ac:spMkLst>
            <pc:docMk/>
            <pc:sldMk cId="3050228371" sldId="2146846417"/>
            <ac:spMk id="19" creationId="{2C7D7C94-41C0-4614-8A18-941174D4D2AF}"/>
          </ac:spMkLst>
        </pc:spChg>
        <pc:spChg chg="add del mod">
          <ac:chgData name="Md Fahim Hasan" userId="92968fce-d4dd-4b9e-8635-66a07c9f98a7" providerId="ADAL" clId="{3A6F4128-6482-4C75-8C7D-220A75826C22}" dt="2023-07-21T16:05:21.829" v="11234" actId="26606"/>
          <ac:spMkLst>
            <pc:docMk/>
            <pc:sldMk cId="3050228371" sldId="2146846417"/>
            <ac:spMk id="20" creationId="{35F60170-91B4-45F0-B88B-9C07AEC4642C}"/>
          </ac:spMkLst>
        </pc:spChg>
        <pc:spChg chg="add del">
          <ac:chgData name="Md Fahim Hasan" userId="92968fce-d4dd-4b9e-8635-66a07c9f98a7" providerId="ADAL" clId="{3A6F4128-6482-4C75-8C7D-220A75826C22}" dt="2023-07-21T16:05:21.829" v="11234" actId="26606"/>
          <ac:spMkLst>
            <pc:docMk/>
            <pc:sldMk cId="3050228371" sldId="2146846417"/>
            <ac:spMk id="22" creationId="{2C7D7C94-41C0-4614-8A18-941174D4D2AF}"/>
          </ac:spMkLst>
        </pc:spChg>
        <pc:spChg chg="del">
          <ac:chgData name="Md Fahim Hasan" userId="92968fce-d4dd-4b9e-8635-66a07c9f98a7" providerId="ADAL" clId="{3A6F4128-6482-4C75-8C7D-220A75826C22}" dt="2023-07-21T16:04:36.683" v="11164"/>
          <ac:spMkLst>
            <pc:docMk/>
            <pc:sldMk cId="3050228371" sldId="2146846417"/>
            <ac:spMk id="80" creationId="{35F60170-91B4-45F0-B88B-9C07AEC4642C}"/>
          </ac:spMkLst>
        </pc:spChg>
        <pc:spChg chg="del">
          <ac:chgData name="Md Fahim Hasan" userId="92968fce-d4dd-4b9e-8635-66a07c9f98a7" providerId="ADAL" clId="{3A6F4128-6482-4C75-8C7D-220A75826C22}" dt="2023-07-21T16:04:36.683" v="11164"/>
          <ac:spMkLst>
            <pc:docMk/>
            <pc:sldMk cId="3050228371" sldId="2146846417"/>
            <ac:spMk id="81" creationId="{2C7D7C94-41C0-4614-8A18-941174D4D2AF}"/>
          </ac:spMkLst>
        </pc:spChg>
        <pc:grpChg chg="add del">
          <ac:chgData name="Md Fahim Hasan" userId="92968fce-d4dd-4b9e-8635-66a07c9f98a7" providerId="ADAL" clId="{3A6F4128-6482-4C75-8C7D-220A75826C22}" dt="2023-07-21T16:05:21.829" v="11234" actId="26606"/>
          <ac:grpSpMkLst>
            <pc:docMk/>
            <pc:sldMk cId="3050228371" sldId="2146846417"/>
            <ac:grpSpMk id="17" creationId="{65B3D45F-509E-43F3-B685-A5E78AD0D820}"/>
          </ac:grpSpMkLst>
        </pc:grpChg>
        <pc:grpChg chg="add">
          <ac:chgData name="Md Fahim Hasan" userId="92968fce-d4dd-4b9e-8635-66a07c9f98a7" providerId="ADAL" clId="{3A6F4128-6482-4C75-8C7D-220A75826C22}" dt="2023-07-21T16:05:24.194" v="11235" actId="26606"/>
          <ac:grpSpMkLst>
            <pc:docMk/>
            <pc:sldMk cId="3050228371" sldId="2146846417"/>
            <ac:grpSpMk id="25" creationId="{65B3D45F-509E-43F3-B685-A5E78AD0D820}"/>
          </ac:grpSpMkLst>
        </pc:grpChg>
        <pc:grpChg chg="del">
          <ac:chgData name="Md Fahim Hasan" userId="92968fce-d4dd-4b9e-8635-66a07c9f98a7" providerId="ADAL" clId="{3A6F4128-6482-4C75-8C7D-220A75826C22}" dt="2023-07-21T16:04:36.683" v="11164"/>
          <ac:grpSpMkLst>
            <pc:docMk/>
            <pc:sldMk cId="3050228371" sldId="2146846417"/>
            <ac:grpSpMk id="28" creationId="{65B3D45F-509E-43F3-B685-A5E78AD0D820}"/>
          </ac:grpSpMkLst>
        </pc:grpChg>
        <pc:cxnChg chg="add">
          <ac:chgData name="Md Fahim Hasan" userId="92968fce-d4dd-4b9e-8635-66a07c9f98a7" providerId="ADAL" clId="{3A6F4128-6482-4C75-8C7D-220A75826C22}" dt="2023-07-21T16:05:24.194" v="11235" actId="26606"/>
          <ac:cxnSpMkLst>
            <pc:docMk/>
            <pc:sldMk cId="3050228371" sldId="2146846417"/>
            <ac:cxnSpMk id="21" creationId="{61F6FBC1-6409-4059-B87B-1BE513242FE6}"/>
          </ac:cxnSpMkLst>
        </pc:cxnChg>
        <pc:cxnChg chg="add">
          <ac:chgData name="Md Fahim Hasan" userId="92968fce-d4dd-4b9e-8635-66a07c9f98a7" providerId="ADAL" clId="{3A6F4128-6482-4C75-8C7D-220A75826C22}" dt="2023-07-21T16:05:24.194" v="11235" actId="26606"/>
          <ac:cxnSpMkLst>
            <pc:docMk/>
            <pc:sldMk cId="3050228371" sldId="2146846417"/>
            <ac:cxnSpMk id="23" creationId="{E6A98E26-C7DC-48E3-8F50-FBF7F3C50F4C}"/>
          </ac:cxnSpMkLst>
        </pc:cxnChg>
        <pc:cxnChg chg="add del">
          <ac:chgData name="Md Fahim Hasan" userId="92968fce-d4dd-4b9e-8635-66a07c9f98a7" providerId="ADAL" clId="{3A6F4128-6482-4C75-8C7D-220A75826C22}" dt="2023-07-21T16:05:21.829" v="11234" actId="26606"/>
          <ac:cxnSpMkLst>
            <pc:docMk/>
            <pc:sldMk cId="3050228371" sldId="2146846417"/>
            <ac:cxnSpMk id="24" creationId="{61F6FBC1-6409-4059-B87B-1BE513242FE6}"/>
          </ac:cxnSpMkLst>
        </pc:cxnChg>
        <pc:cxnChg chg="add del">
          <ac:chgData name="Md Fahim Hasan" userId="92968fce-d4dd-4b9e-8635-66a07c9f98a7" providerId="ADAL" clId="{3A6F4128-6482-4C75-8C7D-220A75826C22}" dt="2023-07-21T16:05:21.829" v="11234" actId="26606"/>
          <ac:cxnSpMkLst>
            <pc:docMk/>
            <pc:sldMk cId="3050228371" sldId="2146846417"/>
            <ac:cxnSpMk id="26" creationId="{E6A98E26-C7DC-48E3-8F50-FBF7F3C50F4C}"/>
          </ac:cxnSpMkLst>
        </pc:cxnChg>
        <pc:cxnChg chg="del">
          <ac:chgData name="Md Fahim Hasan" userId="92968fce-d4dd-4b9e-8635-66a07c9f98a7" providerId="ADAL" clId="{3A6F4128-6482-4C75-8C7D-220A75826C22}" dt="2023-07-21T16:04:36.683" v="11164"/>
          <ac:cxnSpMkLst>
            <pc:docMk/>
            <pc:sldMk cId="3050228371" sldId="2146846417"/>
            <ac:cxnSpMk id="82" creationId="{61F6FBC1-6409-4059-B87B-1BE513242FE6}"/>
          </ac:cxnSpMkLst>
        </pc:cxnChg>
        <pc:cxnChg chg="del">
          <ac:chgData name="Md Fahim Hasan" userId="92968fce-d4dd-4b9e-8635-66a07c9f98a7" providerId="ADAL" clId="{3A6F4128-6482-4C75-8C7D-220A75826C22}" dt="2023-07-21T16:04:36.683" v="11164"/>
          <ac:cxnSpMkLst>
            <pc:docMk/>
            <pc:sldMk cId="3050228371" sldId="2146846417"/>
            <ac:cxnSpMk id="83" creationId="{E6A98E26-C7DC-48E3-8F50-FBF7F3C50F4C}"/>
          </ac:cxnSpMkLst>
        </pc:cxnChg>
      </pc:sldChg>
      <pc:sldChg chg="addSp delSp modSp add mod ord modAnim modNotesTx">
        <pc:chgData name="Md Fahim Hasan" userId="92968fce-d4dd-4b9e-8635-66a07c9f98a7" providerId="ADAL" clId="{3A6F4128-6482-4C75-8C7D-220A75826C22}" dt="2023-07-27T20:28:12.669" v="37950" actId="20577"/>
        <pc:sldMkLst>
          <pc:docMk/>
          <pc:sldMk cId="3045417633" sldId="2146846418"/>
        </pc:sldMkLst>
        <pc:spChg chg="mod">
          <ac:chgData name="Md Fahim Hasan" userId="92968fce-d4dd-4b9e-8635-66a07c9f98a7" providerId="ADAL" clId="{3A6F4128-6482-4C75-8C7D-220A75826C22}" dt="2023-07-26T18:28:14.067" v="24805" actId="1036"/>
          <ac:spMkLst>
            <pc:docMk/>
            <pc:sldMk cId="3045417633" sldId="2146846418"/>
            <ac:spMk id="2" creationId="{D423FFAF-9CDC-ACC2-E90E-850A37957BAA}"/>
          </ac:spMkLst>
        </pc:spChg>
        <pc:spChg chg="mod">
          <ac:chgData name="Md Fahim Hasan" userId="92968fce-d4dd-4b9e-8635-66a07c9f98a7" providerId="ADAL" clId="{3A6F4128-6482-4C75-8C7D-220A75826C22}" dt="2023-07-26T18:28:14.067" v="24805" actId="1036"/>
          <ac:spMkLst>
            <pc:docMk/>
            <pc:sldMk cId="3045417633" sldId="2146846418"/>
            <ac:spMk id="3" creationId="{BBE374DC-2B4D-CC21-509C-1EE76C7459BF}"/>
          </ac:spMkLst>
        </pc:spChg>
        <pc:spChg chg="del">
          <ac:chgData name="Md Fahim Hasan" userId="92968fce-d4dd-4b9e-8635-66a07c9f98a7" providerId="ADAL" clId="{3A6F4128-6482-4C75-8C7D-220A75826C22}" dt="2023-07-21T22:22:50.186" v="13278" actId="478"/>
          <ac:spMkLst>
            <pc:docMk/>
            <pc:sldMk cId="3045417633" sldId="2146846418"/>
            <ac:spMk id="4" creationId="{6E725962-AA6E-3764-10EC-09E349BF7BE0}"/>
          </ac:spMkLst>
        </pc:spChg>
        <pc:spChg chg="mod">
          <ac:chgData name="Md Fahim Hasan" userId="92968fce-d4dd-4b9e-8635-66a07c9f98a7" providerId="ADAL" clId="{3A6F4128-6482-4C75-8C7D-220A75826C22}" dt="2023-07-26T18:28:14.067" v="24805" actId="1036"/>
          <ac:spMkLst>
            <pc:docMk/>
            <pc:sldMk cId="3045417633" sldId="2146846418"/>
            <ac:spMk id="5" creationId="{9F7F57A7-442D-82AB-3AD9-521A308C82AF}"/>
          </ac:spMkLst>
        </pc:spChg>
        <pc:spChg chg="mod">
          <ac:chgData name="Md Fahim Hasan" userId="92968fce-d4dd-4b9e-8635-66a07c9f98a7" providerId="ADAL" clId="{3A6F4128-6482-4C75-8C7D-220A75826C22}" dt="2023-07-26T18:28:14.067" v="24805" actId="1036"/>
          <ac:spMkLst>
            <pc:docMk/>
            <pc:sldMk cId="3045417633" sldId="2146846418"/>
            <ac:spMk id="6" creationId="{D027ECB3-9E9A-490C-3B18-F9FAFF0F379D}"/>
          </ac:spMkLst>
        </pc:spChg>
        <pc:spChg chg="mod">
          <ac:chgData name="Md Fahim Hasan" userId="92968fce-d4dd-4b9e-8635-66a07c9f98a7" providerId="ADAL" clId="{3A6F4128-6482-4C75-8C7D-220A75826C22}" dt="2023-07-26T18:28:14.067" v="24805" actId="1036"/>
          <ac:spMkLst>
            <pc:docMk/>
            <pc:sldMk cId="3045417633" sldId="2146846418"/>
            <ac:spMk id="7" creationId="{42710935-B651-FC59-77DA-0FCAAAFDFECA}"/>
          </ac:spMkLst>
        </pc:spChg>
        <pc:spChg chg="mod">
          <ac:chgData name="Md Fahim Hasan" userId="92968fce-d4dd-4b9e-8635-66a07c9f98a7" providerId="ADAL" clId="{3A6F4128-6482-4C75-8C7D-220A75826C22}" dt="2023-07-26T18:28:14.067" v="24805" actId="1036"/>
          <ac:spMkLst>
            <pc:docMk/>
            <pc:sldMk cId="3045417633" sldId="2146846418"/>
            <ac:spMk id="8" creationId="{A4B40D14-0A2C-A05B-A83A-19A0895929AA}"/>
          </ac:spMkLst>
        </pc:spChg>
        <pc:spChg chg="mod">
          <ac:chgData name="Md Fahim Hasan" userId="92968fce-d4dd-4b9e-8635-66a07c9f98a7" providerId="ADAL" clId="{3A6F4128-6482-4C75-8C7D-220A75826C22}" dt="2023-07-27T20:28:12.669" v="37950" actId="20577"/>
          <ac:spMkLst>
            <pc:docMk/>
            <pc:sldMk cId="3045417633" sldId="2146846418"/>
            <ac:spMk id="9" creationId="{DCE765C9-F866-A10C-05BC-B0F5CF7D4FA9}"/>
          </ac:spMkLst>
        </pc:spChg>
        <pc:spChg chg="mod">
          <ac:chgData name="Md Fahim Hasan" userId="92968fce-d4dd-4b9e-8635-66a07c9f98a7" providerId="ADAL" clId="{3A6F4128-6482-4C75-8C7D-220A75826C22}" dt="2023-07-26T18:28:14.067" v="24805" actId="1036"/>
          <ac:spMkLst>
            <pc:docMk/>
            <pc:sldMk cId="3045417633" sldId="2146846418"/>
            <ac:spMk id="10" creationId="{2393CE26-9104-47DD-1444-9251A959AAF8}"/>
          </ac:spMkLst>
        </pc:spChg>
        <pc:spChg chg="mod">
          <ac:chgData name="Md Fahim Hasan" userId="92968fce-d4dd-4b9e-8635-66a07c9f98a7" providerId="ADAL" clId="{3A6F4128-6482-4C75-8C7D-220A75826C22}" dt="2023-07-27T15:51:58.279" v="35706"/>
          <ac:spMkLst>
            <pc:docMk/>
            <pc:sldMk cId="3045417633" sldId="2146846418"/>
            <ac:spMk id="13" creationId="{3BF66BB4-76B3-B846-B348-5E45C1721294}"/>
          </ac:spMkLst>
        </pc:spChg>
        <pc:spChg chg="mod">
          <ac:chgData name="Md Fahim Hasan" userId="92968fce-d4dd-4b9e-8635-66a07c9f98a7" providerId="ADAL" clId="{3A6F4128-6482-4C75-8C7D-220A75826C22}" dt="2023-07-26T18:28:14.067" v="24805" actId="1036"/>
          <ac:spMkLst>
            <pc:docMk/>
            <pc:sldMk cId="3045417633" sldId="2146846418"/>
            <ac:spMk id="14" creationId="{1ECF1496-C26E-777C-A1F2-11A012EB99FF}"/>
          </ac:spMkLst>
        </pc:spChg>
        <pc:spChg chg="mod">
          <ac:chgData name="Md Fahim Hasan" userId="92968fce-d4dd-4b9e-8635-66a07c9f98a7" providerId="ADAL" clId="{3A6F4128-6482-4C75-8C7D-220A75826C22}" dt="2023-07-26T18:28:14.067" v="24805" actId="1036"/>
          <ac:spMkLst>
            <pc:docMk/>
            <pc:sldMk cId="3045417633" sldId="2146846418"/>
            <ac:spMk id="15" creationId="{9E0E1CDE-6703-FD9D-1A66-476619E1C835}"/>
          </ac:spMkLst>
        </pc:spChg>
        <pc:spChg chg="mod">
          <ac:chgData name="Md Fahim Hasan" userId="92968fce-d4dd-4b9e-8635-66a07c9f98a7" providerId="ADAL" clId="{3A6F4128-6482-4C75-8C7D-220A75826C22}" dt="2023-07-26T18:28:14.067" v="24805" actId="1036"/>
          <ac:spMkLst>
            <pc:docMk/>
            <pc:sldMk cId="3045417633" sldId="2146846418"/>
            <ac:spMk id="16" creationId="{84F5F83C-35E6-5099-E1AF-3CD54D9B2E5D}"/>
          </ac:spMkLst>
        </pc:spChg>
        <pc:spChg chg="mod">
          <ac:chgData name="Md Fahim Hasan" userId="92968fce-d4dd-4b9e-8635-66a07c9f98a7" providerId="ADAL" clId="{3A6F4128-6482-4C75-8C7D-220A75826C22}" dt="2023-07-27T14:43:58.033" v="34938" actId="20577"/>
          <ac:spMkLst>
            <pc:docMk/>
            <pc:sldMk cId="3045417633" sldId="2146846418"/>
            <ac:spMk id="17" creationId="{312523D9-B3BC-1E8B-706E-D99E9EB5EB72}"/>
          </ac:spMkLst>
        </pc:spChg>
        <pc:spChg chg="add mod">
          <ac:chgData name="Md Fahim Hasan" userId="92968fce-d4dd-4b9e-8635-66a07c9f98a7" providerId="ADAL" clId="{3A6F4128-6482-4C75-8C7D-220A75826C22}" dt="2023-07-26T18:29:09.617" v="24836" actId="20577"/>
          <ac:spMkLst>
            <pc:docMk/>
            <pc:sldMk cId="3045417633" sldId="2146846418"/>
            <ac:spMk id="18" creationId="{2EC65C43-8A7C-E56C-A017-801E1D3F8056}"/>
          </ac:spMkLst>
        </pc:spChg>
        <pc:spChg chg="mod">
          <ac:chgData name="Md Fahim Hasan" userId="92968fce-d4dd-4b9e-8635-66a07c9f98a7" providerId="ADAL" clId="{3A6F4128-6482-4C75-8C7D-220A75826C22}" dt="2023-07-26T18:28:14.067" v="24805" actId="1036"/>
          <ac:spMkLst>
            <pc:docMk/>
            <pc:sldMk cId="3045417633" sldId="2146846418"/>
            <ac:spMk id="41" creationId="{AF888FBF-A457-95EB-8F40-9876975F7B07}"/>
          </ac:spMkLst>
        </pc:spChg>
        <pc:spChg chg="mod">
          <ac:chgData name="Md Fahim Hasan" userId="92968fce-d4dd-4b9e-8635-66a07c9f98a7" providerId="ADAL" clId="{3A6F4128-6482-4C75-8C7D-220A75826C22}" dt="2023-07-26T18:28:14.067" v="24805" actId="1036"/>
          <ac:spMkLst>
            <pc:docMk/>
            <pc:sldMk cId="3045417633" sldId="2146846418"/>
            <ac:spMk id="49" creationId="{19C589D2-8479-4B0D-4A80-DEFC3E7C4CC5}"/>
          </ac:spMkLst>
        </pc:spChg>
        <pc:cxnChg chg="mod">
          <ac:chgData name="Md Fahim Hasan" userId="92968fce-d4dd-4b9e-8635-66a07c9f98a7" providerId="ADAL" clId="{3A6F4128-6482-4C75-8C7D-220A75826C22}" dt="2023-07-26T18:28:14.067" v="24805" actId="1036"/>
          <ac:cxnSpMkLst>
            <pc:docMk/>
            <pc:sldMk cId="3045417633" sldId="2146846418"/>
            <ac:cxnSpMk id="12" creationId="{3949C65D-F337-77F4-CBF2-3B5676CD78E1}"/>
          </ac:cxnSpMkLst>
        </pc:cxnChg>
        <pc:cxnChg chg="mod">
          <ac:chgData name="Md Fahim Hasan" userId="92968fce-d4dd-4b9e-8635-66a07c9f98a7" providerId="ADAL" clId="{3A6F4128-6482-4C75-8C7D-220A75826C22}" dt="2023-07-26T18:28:14.067" v="24805" actId="1036"/>
          <ac:cxnSpMkLst>
            <pc:docMk/>
            <pc:sldMk cId="3045417633" sldId="2146846418"/>
            <ac:cxnSpMk id="19" creationId="{EAEC5CB0-9F66-9866-7B24-3CB489200CF6}"/>
          </ac:cxnSpMkLst>
        </pc:cxnChg>
        <pc:cxnChg chg="mod">
          <ac:chgData name="Md Fahim Hasan" userId="92968fce-d4dd-4b9e-8635-66a07c9f98a7" providerId="ADAL" clId="{3A6F4128-6482-4C75-8C7D-220A75826C22}" dt="2023-07-26T18:28:14.067" v="24805" actId="1036"/>
          <ac:cxnSpMkLst>
            <pc:docMk/>
            <pc:sldMk cId="3045417633" sldId="2146846418"/>
            <ac:cxnSpMk id="21" creationId="{633E4688-564C-41FB-BC65-5056A5B90144}"/>
          </ac:cxnSpMkLst>
        </pc:cxnChg>
        <pc:cxnChg chg="mod">
          <ac:chgData name="Md Fahim Hasan" userId="92968fce-d4dd-4b9e-8635-66a07c9f98a7" providerId="ADAL" clId="{3A6F4128-6482-4C75-8C7D-220A75826C22}" dt="2023-07-26T18:28:14.067" v="24805" actId="1036"/>
          <ac:cxnSpMkLst>
            <pc:docMk/>
            <pc:sldMk cId="3045417633" sldId="2146846418"/>
            <ac:cxnSpMk id="22" creationId="{C9CE9F37-2325-294A-135B-F0550FAECF93}"/>
          </ac:cxnSpMkLst>
        </pc:cxnChg>
        <pc:cxnChg chg="mod">
          <ac:chgData name="Md Fahim Hasan" userId="92968fce-d4dd-4b9e-8635-66a07c9f98a7" providerId="ADAL" clId="{3A6F4128-6482-4C75-8C7D-220A75826C22}" dt="2023-07-26T18:28:14.067" v="24805" actId="1036"/>
          <ac:cxnSpMkLst>
            <pc:docMk/>
            <pc:sldMk cId="3045417633" sldId="2146846418"/>
            <ac:cxnSpMk id="26" creationId="{9D846DE1-8546-CA57-885E-56A2C2534CCB}"/>
          </ac:cxnSpMkLst>
        </pc:cxnChg>
        <pc:cxnChg chg="mod">
          <ac:chgData name="Md Fahim Hasan" userId="92968fce-d4dd-4b9e-8635-66a07c9f98a7" providerId="ADAL" clId="{3A6F4128-6482-4C75-8C7D-220A75826C22}" dt="2023-07-26T18:28:14.067" v="24805" actId="1036"/>
          <ac:cxnSpMkLst>
            <pc:docMk/>
            <pc:sldMk cId="3045417633" sldId="2146846418"/>
            <ac:cxnSpMk id="27" creationId="{8C78C693-EAAC-EB89-E338-90AAFBB17839}"/>
          </ac:cxnSpMkLst>
        </pc:cxnChg>
        <pc:cxnChg chg="mod">
          <ac:chgData name="Md Fahim Hasan" userId="92968fce-d4dd-4b9e-8635-66a07c9f98a7" providerId="ADAL" clId="{3A6F4128-6482-4C75-8C7D-220A75826C22}" dt="2023-07-26T18:28:14.067" v="24805" actId="1036"/>
          <ac:cxnSpMkLst>
            <pc:docMk/>
            <pc:sldMk cId="3045417633" sldId="2146846418"/>
            <ac:cxnSpMk id="38" creationId="{54CB732F-EFAA-0062-81D8-400F002267C4}"/>
          </ac:cxnSpMkLst>
        </pc:cxnChg>
        <pc:cxnChg chg="mod">
          <ac:chgData name="Md Fahim Hasan" userId="92968fce-d4dd-4b9e-8635-66a07c9f98a7" providerId="ADAL" clId="{3A6F4128-6482-4C75-8C7D-220A75826C22}" dt="2023-07-26T18:28:14.067" v="24805" actId="1036"/>
          <ac:cxnSpMkLst>
            <pc:docMk/>
            <pc:sldMk cId="3045417633" sldId="2146846418"/>
            <ac:cxnSpMk id="46" creationId="{B50C30AB-5F63-C383-1BCF-41748E23BE0A}"/>
          </ac:cxnSpMkLst>
        </pc:cxnChg>
        <pc:cxnChg chg="mod">
          <ac:chgData name="Md Fahim Hasan" userId="92968fce-d4dd-4b9e-8635-66a07c9f98a7" providerId="ADAL" clId="{3A6F4128-6482-4C75-8C7D-220A75826C22}" dt="2023-07-26T18:28:14.067" v="24805" actId="1036"/>
          <ac:cxnSpMkLst>
            <pc:docMk/>
            <pc:sldMk cId="3045417633" sldId="2146846418"/>
            <ac:cxnSpMk id="56" creationId="{FE9C8553-0384-2641-7E80-E9CD677A1BB0}"/>
          </ac:cxnSpMkLst>
        </pc:cxnChg>
        <pc:cxnChg chg="mod">
          <ac:chgData name="Md Fahim Hasan" userId="92968fce-d4dd-4b9e-8635-66a07c9f98a7" providerId="ADAL" clId="{3A6F4128-6482-4C75-8C7D-220A75826C22}" dt="2023-07-26T18:28:14.067" v="24805" actId="1036"/>
          <ac:cxnSpMkLst>
            <pc:docMk/>
            <pc:sldMk cId="3045417633" sldId="2146846418"/>
            <ac:cxnSpMk id="74" creationId="{7C59F5D8-CB92-52E7-C960-05BF652B3B6E}"/>
          </ac:cxnSpMkLst>
        </pc:cxnChg>
      </pc:sldChg>
      <pc:sldChg chg="addSp delSp modSp add del mod ord setBg delDesignElem">
        <pc:chgData name="Md Fahim Hasan" userId="92968fce-d4dd-4b9e-8635-66a07c9f98a7" providerId="ADAL" clId="{3A6F4128-6482-4C75-8C7D-220A75826C22}" dt="2023-07-25T17:00:03.723" v="18204" actId="47"/>
        <pc:sldMkLst>
          <pc:docMk/>
          <pc:sldMk cId="3896415740" sldId="2146846419"/>
        </pc:sldMkLst>
        <pc:spChg chg="del mod">
          <ac:chgData name="Md Fahim Hasan" userId="92968fce-d4dd-4b9e-8635-66a07c9f98a7" providerId="ADAL" clId="{3A6F4128-6482-4C75-8C7D-220A75826C22}" dt="2023-07-24T18:16:00.791" v="17512" actId="478"/>
          <ac:spMkLst>
            <pc:docMk/>
            <pc:sldMk cId="3896415740" sldId="2146846419"/>
            <ac:spMk id="2" creationId="{9619A94D-10F3-1522-3B83-A842AFB54B8D}"/>
          </ac:spMkLst>
        </pc:spChg>
        <pc:spChg chg="mod">
          <ac:chgData name="Md Fahim Hasan" userId="92968fce-d4dd-4b9e-8635-66a07c9f98a7" providerId="ADAL" clId="{3A6F4128-6482-4C75-8C7D-220A75826C22}" dt="2023-07-21T22:32:16.925" v="13571" actId="108"/>
          <ac:spMkLst>
            <pc:docMk/>
            <pc:sldMk cId="3896415740" sldId="2146846419"/>
            <ac:spMk id="9" creationId="{DCE765C9-F866-A10C-05BC-B0F5CF7D4FA9}"/>
          </ac:spMkLst>
        </pc:spChg>
        <pc:spChg chg="add">
          <ac:chgData name="Md Fahim Hasan" userId="92968fce-d4dd-4b9e-8635-66a07c9f98a7" providerId="ADAL" clId="{3A6F4128-6482-4C75-8C7D-220A75826C22}" dt="2023-07-21T22:31:49.819" v="13562" actId="26606"/>
          <ac:spMkLst>
            <pc:docMk/>
            <pc:sldMk cId="3896415740" sldId="2146846419"/>
            <ac:spMk id="18" creationId="{35F60170-91B4-45F0-B88B-9C07AEC4642C}"/>
          </ac:spMkLst>
        </pc:spChg>
        <pc:spChg chg="add">
          <ac:chgData name="Md Fahim Hasan" userId="92968fce-d4dd-4b9e-8635-66a07c9f98a7" providerId="ADAL" clId="{3A6F4128-6482-4C75-8C7D-220A75826C22}" dt="2023-07-21T22:31:49.819" v="13562" actId="26606"/>
          <ac:spMkLst>
            <pc:docMk/>
            <pc:sldMk cId="3896415740" sldId="2146846419"/>
            <ac:spMk id="19" creationId="{2C7D7C94-41C0-4614-8A18-941174D4D2AF}"/>
          </ac:spMkLst>
        </pc:spChg>
        <pc:spChg chg="del">
          <ac:chgData name="Md Fahim Hasan" userId="92968fce-d4dd-4b9e-8635-66a07c9f98a7" providerId="ADAL" clId="{3A6F4128-6482-4C75-8C7D-220A75826C22}" dt="2023-07-21T22:31:14.427" v="13508"/>
          <ac:spMkLst>
            <pc:docMk/>
            <pc:sldMk cId="3896415740" sldId="2146846419"/>
            <ac:spMk id="20" creationId="{35F60170-91B4-45F0-B88B-9C07AEC4642C}"/>
          </ac:spMkLst>
        </pc:spChg>
        <pc:spChg chg="del">
          <ac:chgData name="Md Fahim Hasan" userId="92968fce-d4dd-4b9e-8635-66a07c9f98a7" providerId="ADAL" clId="{3A6F4128-6482-4C75-8C7D-220A75826C22}" dt="2023-07-21T22:31:14.427" v="13508"/>
          <ac:spMkLst>
            <pc:docMk/>
            <pc:sldMk cId="3896415740" sldId="2146846419"/>
            <ac:spMk id="22" creationId="{2C7D7C94-41C0-4614-8A18-941174D4D2AF}"/>
          </ac:spMkLst>
        </pc:spChg>
        <pc:grpChg chg="del">
          <ac:chgData name="Md Fahim Hasan" userId="92968fce-d4dd-4b9e-8635-66a07c9f98a7" providerId="ADAL" clId="{3A6F4128-6482-4C75-8C7D-220A75826C22}" dt="2023-07-21T22:31:14.427" v="13508"/>
          <ac:grpSpMkLst>
            <pc:docMk/>
            <pc:sldMk cId="3896415740" sldId="2146846419"/>
            <ac:grpSpMk id="17" creationId="{65B3D45F-509E-43F3-B685-A5E78AD0D820}"/>
          </ac:grpSpMkLst>
        </pc:grpChg>
        <pc:grpChg chg="add">
          <ac:chgData name="Md Fahim Hasan" userId="92968fce-d4dd-4b9e-8635-66a07c9f98a7" providerId="ADAL" clId="{3A6F4128-6482-4C75-8C7D-220A75826C22}" dt="2023-07-21T22:31:49.819" v="13562" actId="26606"/>
          <ac:grpSpMkLst>
            <pc:docMk/>
            <pc:sldMk cId="3896415740" sldId="2146846419"/>
            <ac:grpSpMk id="28" creationId="{65B3D45F-509E-43F3-B685-A5E78AD0D820}"/>
          </ac:grpSpMkLst>
        </pc:grpChg>
        <pc:picChg chg="ord">
          <ac:chgData name="Md Fahim Hasan" userId="92968fce-d4dd-4b9e-8635-66a07c9f98a7" providerId="ADAL" clId="{3A6F4128-6482-4C75-8C7D-220A75826C22}" dt="2023-07-21T22:31:49.819" v="13562" actId="26606"/>
          <ac:picMkLst>
            <pc:docMk/>
            <pc:sldMk cId="3896415740" sldId="2146846419"/>
            <ac:picMk id="15" creationId="{B0F7B2C1-02FD-AB52-1E28-5A1C0EE1123A}"/>
          </ac:picMkLst>
        </pc:picChg>
        <pc:cxnChg chg="add">
          <ac:chgData name="Md Fahim Hasan" userId="92968fce-d4dd-4b9e-8635-66a07c9f98a7" providerId="ADAL" clId="{3A6F4128-6482-4C75-8C7D-220A75826C22}" dt="2023-07-21T22:31:49.819" v="13562" actId="26606"/>
          <ac:cxnSpMkLst>
            <pc:docMk/>
            <pc:sldMk cId="3896415740" sldId="2146846419"/>
            <ac:cxnSpMk id="21" creationId="{61F6FBC1-6409-4059-B87B-1BE513242FE6}"/>
          </ac:cxnSpMkLst>
        </pc:cxnChg>
        <pc:cxnChg chg="add">
          <ac:chgData name="Md Fahim Hasan" userId="92968fce-d4dd-4b9e-8635-66a07c9f98a7" providerId="ADAL" clId="{3A6F4128-6482-4C75-8C7D-220A75826C22}" dt="2023-07-21T22:31:49.819" v="13562" actId="26606"/>
          <ac:cxnSpMkLst>
            <pc:docMk/>
            <pc:sldMk cId="3896415740" sldId="2146846419"/>
            <ac:cxnSpMk id="23" creationId="{E6A98E26-C7DC-48E3-8F50-FBF7F3C50F4C}"/>
          </ac:cxnSpMkLst>
        </pc:cxnChg>
        <pc:cxnChg chg="del">
          <ac:chgData name="Md Fahim Hasan" userId="92968fce-d4dd-4b9e-8635-66a07c9f98a7" providerId="ADAL" clId="{3A6F4128-6482-4C75-8C7D-220A75826C22}" dt="2023-07-21T22:31:14.427" v="13508"/>
          <ac:cxnSpMkLst>
            <pc:docMk/>
            <pc:sldMk cId="3896415740" sldId="2146846419"/>
            <ac:cxnSpMk id="24" creationId="{61F6FBC1-6409-4059-B87B-1BE513242FE6}"/>
          </ac:cxnSpMkLst>
        </pc:cxnChg>
        <pc:cxnChg chg="del">
          <ac:chgData name="Md Fahim Hasan" userId="92968fce-d4dd-4b9e-8635-66a07c9f98a7" providerId="ADAL" clId="{3A6F4128-6482-4C75-8C7D-220A75826C22}" dt="2023-07-21T22:31:14.427" v="13508"/>
          <ac:cxnSpMkLst>
            <pc:docMk/>
            <pc:sldMk cId="3896415740" sldId="2146846419"/>
            <ac:cxnSpMk id="26" creationId="{E6A98E26-C7DC-48E3-8F50-FBF7F3C50F4C}"/>
          </ac:cxnSpMkLst>
        </pc:cxnChg>
      </pc:sldChg>
      <pc:sldChg chg="addSp delSp modSp add mod ord delAnim modAnim modShow modNotesTx">
        <pc:chgData name="Md Fahim Hasan" userId="92968fce-d4dd-4b9e-8635-66a07c9f98a7" providerId="ADAL" clId="{3A6F4128-6482-4C75-8C7D-220A75826C22}" dt="2023-07-28T17:47:44.660" v="39078" actId="729"/>
        <pc:sldMkLst>
          <pc:docMk/>
          <pc:sldMk cId="3091098860" sldId="2146846420"/>
        </pc:sldMkLst>
        <pc:spChg chg="mod">
          <ac:chgData name="Md Fahim Hasan" userId="92968fce-d4dd-4b9e-8635-66a07c9f98a7" providerId="ADAL" clId="{3A6F4128-6482-4C75-8C7D-220A75826C22}" dt="2023-07-27T15:51:58.279" v="35706"/>
          <ac:spMkLst>
            <pc:docMk/>
            <pc:sldMk cId="3091098860" sldId="2146846420"/>
            <ac:spMk id="2" creationId="{01022AA2-4ED6-33F1-DCC7-83E7BA387B4B}"/>
          </ac:spMkLst>
        </pc:spChg>
        <pc:spChg chg="add mod">
          <ac:chgData name="Md Fahim Hasan" userId="92968fce-d4dd-4b9e-8635-66a07c9f98a7" providerId="ADAL" clId="{3A6F4128-6482-4C75-8C7D-220A75826C22}" dt="2023-07-28T02:56:39.569" v="38182" actId="115"/>
          <ac:spMkLst>
            <pc:docMk/>
            <pc:sldMk cId="3091098860" sldId="2146846420"/>
            <ac:spMk id="3" creationId="{76C83492-675C-BDF8-08D6-D05F59107492}"/>
          </ac:spMkLst>
        </pc:spChg>
        <pc:spChg chg="del">
          <ac:chgData name="Md Fahim Hasan" userId="92968fce-d4dd-4b9e-8635-66a07c9f98a7" providerId="ADAL" clId="{3A6F4128-6482-4C75-8C7D-220A75826C22}" dt="2023-07-21T22:33:35.580" v="13584" actId="478"/>
          <ac:spMkLst>
            <pc:docMk/>
            <pc:sldMk cId="3091098860" sldId="2146846420"/>
            <ac:spMk id="4" creationId="{59A6018B-9E1B-2CF1-7DA2-59B339EE12B2}"/>
          </ac:spMkLst>
        </pc:spChg>
        <pc:spChg chg="add del mod">
          <ac:chgData name="Md Fahim Hasan" userId="92968fce-d4dd-4b9e-8635-66a07c9f98a7" providerId="ADAL" clId="{3A6F4128-6482-4C75-8C7D-220A75826C22}" dt="2023-07-21T22:40:11.118" v="13740" actId="478"/>
          <ac:spMkLst>
            <pc:docMk/>
            <pc:sldMk cId="3091098860" sldId="2146846420"/>
            <ac:spMk id="6" creationId="{58290EA4-958B-62A2-D894-33350541F9D9}"/>
          </ac:spMkLst>
        </pc:spChg>
        <pc:spChg chg="add del mod">
          <ac:chgData name="Md Fahim Hasan" userId="92968fce-d4dd-4b9e-8635-66a07c9f98a7" providerId="ADAL" clId="{3A6F4128-6482-4C75-8C7D-220A75826C22}" dt="2023-07-26T15:46:27.566" v="21758" actId="478"/>
          <ac:spMkLst>
            <pc:docMk/>
            <pc:sldMk cId="3091098860" sldId="2146846420"/>
            <ac:spMk id="6" creationId="{CDFE7E05-6304-E9E3-446A-5B56956DD37A}"/>
          </ac:spMkLst>
        </pc:spChg>
        <pc:spChg chg="mod">
          <ac:chgData name="Md Fahim Hasan" userId="92968fce-d4dd-4b9e-8635-66a07c9f98a7" providerId="ADAL" clId="{3A6F4128-6482-4C75-8C7D-220A75826C22}" dt="2023-07-27T20:28:21.750" v="37964" actId="20577"/>
          <ac:spMkLst>
            <pc:docMk/>
            <pc:sldMk cId="3091098860" sldId="2146846420"/>
            <ac:spMk id="9" creationId="{DCE765C9-F866-A10C-05BC-B0F5CF7D4FA9}"/>
          </ac:spMkLst>
        </pc:spChg>
        <pc:spChg chg="add mod">
          <ac:chgData name="Md Fahim Hasan" userId="92968fce-d4dd-4b9e-8635-66a07c9f98a7" providerId="ADAL" clId="{3A6F4128-6482-4C75-8C7D-220A75826C22}" dt="2023-07-26T15:47:40.890" v="21759" actId="5793"/>
          <ac:spMkLst>
            <pc:docMk/>
            <pc:sldMk cId="3091098860" sldId="2146846420"/>
            <ac:spMk id="10" creationId="{0493CA3C-A4A5-7D4C-211C-75EC0115E151}"/>
          </ac:spMkLst>
        </pc:spChg>
        <pc:spChg chg="add del mod">
          <ac:chgData name="Md Fahim Hasan" userId="92968fce-d4dd-4b9e-8635-66a07c9f98a7" providerId="ADAL" clId="{3A6F4128-6482-4C75-8C7D-220A75826C22}" dt="2023-07-21T23:02:08.377" v="13981" actId="478"/>
          <ac:spMkLst>
            <pc:docMk/>
            <pc:sldMk cId="3091098860" sldId="2146846420"/>
            <ac:spMk id="13" creationId="{55DD7796-70F6-E139-2329-FE1A0A16A7ED}"/>
          </ac:spMkLst>
        </pc:spChg>
        <pc:spChg chg="del">
          <ac:chgData name="Md Fahim Hasan" userId="92968fce-d4dd-4b9e-8635-66a07c9f98a7" providerId="ADAL" clId="{3A6F4128-6482-4C75-8C7D-220A75826C22}" dt="2023-07-21T22:33:38.424" v="13586" actId="478"/>
          <ac:spMkLst>
            <pc:docMk/>
            <pc:sldMk cId="3091098860" sldId="2146846420"/>
            <ac:spMk id="14" creationId="{C1FF783D-9D48-5F9F-F53C-427DF5C7F34C}"/>
          </ac:spMkLst>
        </pc:spChg>
        <pc:spChg chg="add del mod">
          <ac:chgData name="Md Fahim Hasan" userId="92968fce-d4dd-4b9e-8635-66a07c9f98a7" providerId="ADAL" clId="{3A6F4128-6482-4C75-8C7D-220A75826C22}" dt="2023-07-21T22:58:31.154" v="13928"/>
          <ac:spMkLst>
            <pc:docMk/>
            <pc:sldMk cId="3091098860" sldId="2146846420"/>
            <ac:spMk id="15" creationId="{E85A562D-8BAA-5DEE-2A55-AFB4E5FE32A1}"/>
          </ac:spMkLst>
        </pc:spChg>
        <pc:spChg chg="add mod">
          <ac:chgData name="Md Fahim Hasan" userId="92968fce-d4dd-4b9e-8635-66a07c9f98a7" providerId="ADAL" clId="{3A6F4128-6482-4C75-8C7D-220A75826C22}" dt="2023-07-21T22:59:39.911" v="13931"/>
          <ac:spMkLst>
            <pc:docMk/>
            <pc:sldMk cId="3091098860" sldId="2146846420"/>
            <ac:spMk id="16" creationId="{E1D5A8CA-E18A-9013-002D-ECA1C349ACB2}"/>
          </ac:spMkLst>
        </pc:spChg>
        <pc:spChg chg="del">
          <ac:chgData name="Md Fahim Hasan" userId="92968fce-d4dd-4b9e-8635-66a07c9f98a7" providerId="ADAL" clId="{3A6F4128-6482-4C75-8C7D-220A75826C22}" dt="2023-07-21T22:33:36.862" v="13585" actId="478"/>
          <ac:spMkLst>
            <pc:docMk/>
            <pc:sldMk cId="3091098860" sldId="2146846420"/>
            <ac:spMk id="18" creationId="{40D5597F-54EF-1475-073B-DAC1B7EDD096}"/>
          </ac:spMkLst>
        </pc:spChg>
        <pc:spChg chg="add del mod">
          <ac:chgData name="Md Fahim Hasan" userId="92968fce-d4dd-4b9e-8635-66a07c9f98a7" providerId="ADAL" clId="{3A6F4128-6482-4C75-8C7D-220A75826C22}" dt="2023-07-21T22:59:56.832" v="13935" actId="478"/>
          <ac:spMkLst>
            <pc:docMk/>
            <pc:sldMk cId="3091098860" sldId="2146846420"/>
            <ac:spMk id="19" creationId="{6B7C98D5-26B3-6406-9F38-656D94FE104F}"/>
          </ac:spMkLst>
        </pc:spChg>
        <pc:spChg chg="add del mod">
          <ac:chgData name="Md Fahim Hasan" userId="92968fce-d4dd-4b9e-8635-66a07c9f98a7" providerId="ADAL" clId="{3A6F4128-6482-4C75-8C7D-220A75826C22}" dt="2023-07-21T23:00:20.759" v="13944" actId="478"/>
          <ac:spMkLst>
            <pc:docMk/>
            <pc:sldMk cId="3091098860" sldId="2146846420"/>
            <ac:spMk id="20" creationId="{CC0BCD36-84D4-AD28-56D4-208C6E2514DA}"/>
          </ac:spMkLst>
        </pc:spChg>
        <pc:spChg chg="add mod">
          <ac:chgData name="Md Fahim Hasan" userId="92968fce-d4dd-4b9e-8635-66a07c9f98a7" providerId="ADAL" clId="{3A6F4128-6482-4C75-8C7D-220A75826C22}" dt="2023-07-21T23:02:14.801" v="13982" actId="1076"/>
          <ac:spMkLst>
            <pc:docMk/>
            <pc:sldMk cId="3091098860" sldId="2146846420"/>
            <ac:spMk id="21" creationId="{8BBD99BD-72B6-B1F3-A76A-4FE9DD5EA5DC}"/>
          </ac:spMkLst>
        </pc:spChg>
        <pc:grpChg chg="add mod">
          <ac:chgData name="Md Fahim Hasan" userId="92968fce-d4dd-4b9e-8635-66a07c9f98a7" providerId="ADAL" clId="{3A6F4128-6482-4C75-8C7D-220A75826C22}" dt="2023-07-21T23:02:24.439" v="13985" actId="1076"/>
          <ac:grpSpMkLst>
            <pc:docMk/>
            <pc:sldMk cId="3091098860" sldId="2146846420"/>
            <ac:grpSpMk id="17" creationId="{64FBD80A-68D5-FAA2-CDB2-774F6A09765B}"/>
          </ac:grpSpMkLst>
        </pc:grpChg>
        <pc:picChg chg="add mod">
          <ac:chgData name="Md Fahim Hasan" userId="92968fce-d4dd-4b9e-8635-66a07c9f98a7" providerId="ADAL" clId="{3A6F4128-6482-4C75-8C7D-220A75826C22}" dt="2023-07-21T22:58:34.441" v="13929" actId="164"/>
          <ac:picMkLst>
            <pc:docMk/>
            <pc:sldMk cId="3091098860" sldId="2146846420"/>
            <ac:picMk id="8" creationId="{C67A9180-74C5-2B09-DEAF-F24C087AFB7A}"/>
          </ac:picMkLst>
        </pc:picChg>
        <pc:picChg chg="add mod">
          <ac:chgData name="Md Fahim Hasan" userId="92968fce-d4dd-4b9e-8635-66a07c9f98a7" providerId="ADAL" clId="{3A6F4128-6482-4C75-8C7D-220A75826C22}" dt="2023-07-25T17:14:06.521" v="18372" actId="1076"/>
          <ac:picMkLst>
            <pc:docMk/>
            <pc:sldMk cId="3091098860" sldId="2146846420"/>
            <ac:picMk id="12" creationId="{90ABC447-2E42-0759-A4D9-C6C53471FABF}"/>
          </ac:picMkLst>
        </pc:picChg>
        <pc:cxnChg chg="add del mod">
          <ac:chgData name="Md Fahim Hasan" userId="92968fce-d4dd-4b9e-8635-66a07c9f98a7" providerId="ADAL" clId="{3A6F4128-6482-4C75-8C7D-220A75826C22}" dt="2023-07-26T15:46:27.566" v="21758" actId="478"/>
          <ac:cxnSpMkLst>
            <pc:docMk/>
            <pc:sldMk cId="3091098860" sldId="2146846420"/>
            <ac:cxnSpMk id="5" creationId="{574A5DFC-E7EF-DEE4-7465-FB1BC7318588}"/>
          </ac:cxnSpMkLst>
        </pc:cxnChg>
      </pc:sldChg>
      <pc:sldChg chg="modSp add mod ord">
        <pc:chgData name="Md Fahim Hasan" userId="92968fce-d4dd-4b9e-8635-66a07c9f98a7" providerId="ADAL" clId="{3A6F4128-6482-4C75-8C7D-220A75826C22}" dt="2023-07-28T17:35:52.284" v="39058"/>
        <pc:sldMkLst>
          <pc:docMk/>
          <pc:sldMk cId="1473364542" sldId="2146846421"/>
        </pc:sldMkLst>
        <pc:spChg chg="mod">
          <ac:chgData name="Md Fahim Hasan" userId="92968fce-d4dd-4b9e-8635-66a07c9f98a7" providerId="ADAL" clId="{3A6F4128-6482-4C75-8C7D-220A75826C22}" dt="2023-07-27T15:51:58.279" v="35706"/>
          <ac:spMkLst>
            <pc:docMk/>
            <pc:sldMk cId="1473364542" sldId="2146846421"/>
            <ac:spMk id="3" creationId="{B32175AB-1DB3-5446-7E5C-A305118EF0B3}"/>
          </ac:spMkLst>
        </pc:spChg>
        <pc:spChg chg="mod">
          <ac:chgData name="Md Fahim Hasan" userId="92968fce-d4dd-4b9e-8635-66a07c9f98a7" providerId="ADAL" clId="{3A6F4128-6482-4C75-8C7D-220A75826C22}" dt="2023-07-27T19:38:29.886" v="37471" actId="27636"/>
          <ac:spMkLst>
            <pc:docMk/>
            <pc:sldMk cId="1473364542" sldId="2146846421"/>
            <ac:spMk id="9" creationId="{DCE765C9-F866-A10C-05BC-B0F5CF7D4FA9}"/>
          </ac:spMkLst>
        </pc:spChg>
        <pc:picChg chg="mod">
          <ac:chgData name="Md Fahim Hasan" userId="92968fce-d4dd-4b9e-8635-66a07c9f98a7" providerId="ADAL" clId="{3A6F4128-6482-4C75-8C7D-220A75826C22}" dt="2023-07-26T23:39:07.876" v="30948" actId="14826"/>
          <ac:picMkLst>
            <pc:docMk/>
            <pc:sldMk cId="1473364542" sldId="2146846421"/>
            <ac:picMk id="2" creationId="{C4F21C2E-6869-30CB-DB14-9CB4794C171D}"/>
          </ac:picMkLst>
        </pc:picChg>
        <pc:picChg chg="mod">
          <ac:chgData name="Md Fahim Hasan" userId="92968fce-d4dd-4b9e-8635-66a07c9f98a7" providerId="ADAL" clId="{3A6F4128-6482-4C75-8C7D-220A75826C22}" dt="2023-07-26T23:38:40.783" v="30946" actId="14826"/>
          <ac:picMkLst>
            <pc:docMk/>
            <pc:sldMk cId="1473364542" sldId="2146846421"/>
            <ac:picMk id="23" creationId="{2E82135A-B0F3-5B97-131F-16F643ACC49B}"/>
          </ac:picMkLst>
        </pc:picChg>
      </pc:sldChg>
      <pc:sldChg chg="addSp delSp modSp add mod delAnim">
        <pc:chgData name="Md Fahim Hasan" userId="92968fce-d4dd-4b9e-8635-66a07c9f98a7" providerId="ADAL" clId="{3A6F4128-6482-4C75-8C7D-220A75826C22}" dt="2023-07-27T15:51:58.279" v="35706"/>
        <pc:sldMkLst>
          <pc:docMk/>
          <pc:sldMk cId="1052435917" sldId="2146846422"/>
        </pc:sldMkLst>
        <pc:spChg chg="mod">
          <ac:chgData name="Md Fahim Hasan" userId="92968fce-d4dd-4b9e-8635-66a07c9f98a7" providerId="ADAL" clId="{3A6F4128-6482-4C75-8C7D-220A75826C22}" dt="2023-07-27T15:51:58.279" v="35706"/>
          <ac:spMkLst>
            <pc:docMk/>
            <pc:sldMk cId="1052435917" sldId="2146846422"/>
            <ac:spMk id="2" creationId="{99AE1A04-85B3-C2B8-36C1-23AD8083AA4B}"/>
          </ac:spMkLst>
        </pc:spChg>
        <pc:spChg chg="add mod">
          <ac:chgData name="Md Fahim Hasan" userId="92968fce-d4dd-4b9e-8635-66a07c9f98a7" providerId="ADAL" clId="{3A6F4128-6482-4C75-8C7D-220A75826C22}" dt="2023-07-25T20:32:26.338" v="20639" actId="115"/>
          <ac:spMkLst>
            <pc:docMk/>
            <pc:sldMk cId="1052435917" sldId="2146846422"/>
            <ac:spMk id="4" creationId="{07BBA27D-027A-E644-50E4-A8E16BCA174A}"/>
          </ac:spMkLst>
        </pc:spChg>
        <pc:spChg chg="mod">
          <ac:chgData name="Md Fahim Hasan" userId="92968fce-d4dd-4b9e-8635-66a07c9f98a7" providerId="ADAL" clId="{3A6F4128-6482-4C75-8C7D-220A75826C22}" dt="2023-07-25T20:31:56.624" v="20614" actId="1076"/>
          <ac:spMkLst>
            <pc:docMk/>
            <pc:sldMk cId="1052435917" sldId="2146846422"/>
            <ac:spMk id="9" creationId="{DCE765C9-F866-A10C-05BC-B0F5CF7D4FA9}"/>
          </ac:spMkLst>
        </pc:spChg>
        <pc:spChg chg="del">
          <ac:chgData name="Md Fahim Hasan" userId="92968fce-d4dd-4b9e-8635-66a07c9f98a7" providerId="ADAL" clId="{3A6F4128-6482-4C75-8C7D-220A75826C22}" dt="2023-07-25T20:29:10.058" v="20565" actId="21"/>
          <ac:spMkLst>
            <pc:docMk/>
            <pc:sldMk cId="1052435917" sldId="2146846422"/>
            <ac:spMk id="10" creationId="{857B749E-6732-0406-D2BE-7CDBCA431B79}"/>
          </ac:spMkLst>
        </pc:spChg>
        <pc:spChg chg="del">
          <ac:chgData name="Md Fahim Hasan" userId="92968fce-d4dd-4b9e-8635-66a07c9f98a7" providerId="ADAL" clId="{3A6F4128-6482-4C75-8C7D-220A75826C22}" dt="2023-07-25T20:29:10.058" v="20565" actId="21"/>
          <ac:spMkLst>
            <pc:docMk/>
            <pc:sldMk cId="1052435917" sldId="2146846422"/>
            <ac:spMk id="13" creationId="{0DBAA058-1504-E777-7B09-F0DFF0A0CF99}"/>
          </ac:spMkLst>
        </pc:spChg>
        <pc:spChg chg="del">
          <ac:chgData name="Md Fahim Hasan" userId="92968fce-d4dd-4b9e-8635-66a07c9f98a7" providerId="ADAL" clId="{3A6F4128-6482-4C75-8C7D-220A75826C22}" dt="2023-07-25T20:29:10.058" v="20565" actId="21"/>
          <ac:spMkLst>
            <pc:docMk/>
            <pc:sldMk cId="1052435917" sldId="2146846422"/>
            <ac:spMk id="19" creationId="{F5E98535-C369-7EFF-A731-20DBAFF5BD2C}"/>
          </ac:spMkLst>
        </pc:spChg>
        <pc:spChg chg="del">
          <ac:chgData name="Md Fahim Hasan" userId="92968fce-d4dd-4b9e-8635-66a07c9f98a7" providerId="ADAL" clId="{3A6F4128-6482-4C75-8C7D-220A75826C22}" dt="2023-07-25T20:29:10.058" v="20565" actId="21"/>
          <ac:spMkLst>
            <pc:docMk/>
            <pc:sldMk cId="1052435917" sldId="2146846422"/>
            <ac:spMk id="20" creationId="{1DE051DC-3F4E-DFDD-A032-C1B0BB72BF6D}"/>
          </ac:spMkLst>
        </pc:spChg>
        <pc:spChg chg="del">
          <ac:chgData name="Md Fahim Hasan" userId="92968fce-d4dd-4b9e-8635-66a07c9f98a7" providerId="ADAL" clId="{3A6F4128-6482-4C75-8C7D-220A75826C22}" dt="2023-07-25T20:29:10.058" v="20565" actId="21"/>
          <ac:spMkLst>
            <pc:docMk/>
            <pc:sldMk cId="1052435917" sldId="2146846422"/>
            <ac:spMk id="21" creationId="{50793ED0-B4CD-50DB-3B4A-57FCDEB52756}"/>
          </ac:spMkLst>
        </pc:spChg>
        <pc:spChg chg="del">
          <ac:chgData name="Md Fahim Hasan" userId="92968fce-d4dd-4b9e-8635-66a07c9f98a7" providerId="ADAL" clId="{3A6F4128-6482-4C75-8C7D-220A75826C22}" dt="2023-07-25T20:29:10.058" v="20565" actId="21"/>
          <ac:spMkLst>
            <pc:docMk/>
            <pc:sldMk cId="1052435917" sldId="2146846422"/>
            <ac:spMk id="22" creationId="{EB753DD7-438C-13DC-C408-3AF0BD2E70E9}"/>
          </ac:spMkLst>
        </pc:spChg>
        <pc:picChg chg="mod">
          <ac:chgData name="Md Fahim Hasan" userId="92968fce-d4dd-4b9e-8635-66a07c9f98a7" providerId="ADAL" clId="{3A6F4128-6482-4C75-8C7D-220A75826C22}" dt="2023-07-25T20:32:14.380" v="20618" actId="1076"/>
          <ac:picMkLst>
            <pc:docMk/>
            <pc:sldMk cId="1052435917" sldId="2146846422"/>
            <ac:picMk id="3" creationId="{16BBEA49-B7C7-2619-44DA-70CDEE7990C0}"/>
          </ac:picMkLst>
        </pc:picChg>
      </pc:sldChg>
      <pc:sldChg chg="modSp add del mod">
        <pc:chgData name="Md Fahim Hasan" userId="92968fce-d4dd-4b9e-8635-66a07c9f98a7" providerId="ADAL" clId="{3A6F4128-6482-4C75-8C7D-220A75826C22}" dt="2023-07-25T18:59:14.378" v="19450" actId="2696"/>
        <pc:sldMkLst>
          <pc:docMk/>
          <pc:sldMk cId="2155248415" sldId="2146846422"/>
        </pc:sldMkLst>
        <pc:spChg chg="mod">
          <ac:chgData name="Md Fahim Hasan" userId="92968fce-d4dd-4b9e-8635-66a07c9f98a7" providerId="ADAL" clId="{3A6F4128-6482-4C75-8C7D-220A75826C22}" dt="2023-07-24T16:32:28.701" v="15199" actId="1076"/>
          <ac:spMkLst>
            <pc:docMk/>
            <pc:sldMk cId="2155248415" sldId="2146846422"/>
            <ac:spMk id="9" creationId="{DCE765C9-F866-A10C-05BC-B0F5CF7D4FA9}"/>
          </ac:spMkLst>
        </pc:spChg>
        <pc:picChg chg="mod">
          <ac:chgData name="Md Fahim Hasan" userId="92968fce-d4dd-4b9e-8635-66a07c9f98a7" providerId="ADAL" clId="{3A6F4128-6482-4C75-8C7D-220A75826C22}" dt="2023-07-21T23:22:16.808" v="14130" actId="14826"/>
          <ac:picMkLst>
            <pc:docMk/>
            <pc:sldMk cId="2155248415" sldId="2146846422"/>
            <ac:picMk id="3" creationId="{16BBEA49-B7C7-2619-44DA-70CDEE7990C0}"/>
          </ac:picMkLst>
        </pc:picChg>
      </pc:sldChg>
      <pc:sldChg chg="addSp modSp add mod ord modNotesTx">
        <pc:chgData name="Md Fahim Hasan" userId="92968fce-d4dd-4b9e-8635-66a07c9f98a7" providerId="ADAL" clId="{3A6F4128-6482-4C75-8C7D-220A75826C22}" dt="2023-07-28T17:36:02.015" v="39064"/>
        <pc:sldMkLst>
          <pc:docMk/>
          <pc:sldMk cId="987091660" sldId="2146846423"/>
        </pc:sldMkLst>
        <pc:spChg chg="mod">
          <ac:chgData name="Md Fahim Hasan" userId="92968fce-d4dd-4b9e-8635-66a07c9f98a7" providerId="ADAL" clId="{3A6F4128-6482-4C75-8C7D-220A75826C22}" dt="2023-07-27T15:51:58.279" v="35706"/>
          <ac:spMkLst>
            <pc:docMk/>
            <pc:sldMk cId="987091660" sldId="2146846423"/>
            <ac:spMk id="2" creationId="{99AE1A04-85B3-C2B8-36C1-23AD8083AA4B}"/>
          </ac:spMkLst>
        </pc:spChg>
        <pc:spChg chg="add mod">
          <ac:chgData name="Md Fahim Hasan" userId="92968fce-d4dd-4b9e-8635-66a07c9f98a7" providerId="ADAL" clId="{3A6F4128-6482-4C75-8C7D-220A75826C22}" dt="2023-07-25T20:26:33.938" v="20506" actId="20577"/>
          <ac:spMkLst>
            <pc:docMk/>
            <pc:sldMk cId="987091660" sldId="2146846423"/>
            <ac:spMk id="4" creationId="{8D2E76D9-60D8-0BDB-2B6A-146386004ACC}"/>
          </ac:spMkLst>
        </pc:spChg>
        <pc:spChg chg="mod">
          <ac:chgData name="Md Fahim Hasan" userId="92968fce-d4dd-4b9e-8635-66a07c9f98a7" providerId="ADAL" clId="{3A6F4128-6482-4C75-8C7D-220A75826C22}" dt="2023-07-25T20:26:56.002" v="20513" actId="1076"/>
          <ac:spMkLst>
            <pc:docMk/>
            <pc:sldMk cId="987091660" sldId="2146846423"/>
            <ac:spMk id="9" creationId="{DCE765C9-F866-A10C-05BC-B0F5CF7D4FA9}"/>
          </ac:spMkLst>
        </pc:spChg>
        <pc:picChg chg="mod">
          <ac:chgData name="Md Fahim Hasan" userId="92968fce-d4dd-4b9e-8635-66a07c9f98a7" providerId="ADAL" clId="{3A6F4128-6482-4C75-8C7D-220A75826C22}" dt="2023-07-25T20:25:45.650" v="20478" actId="1076"/>
          <ac:picMkLst>
            <pc:docMk/>
            <pc:sldMk cId="987091660" sldId="2146846423"/>
            <ac:picMk id="3" creationId="{16BBEA49-B7C7-2619-44DA-70CDEE7990C0}"/>
          </ac:picMkLst>
        </pc:picChg>
      </pc:sldChg>
      <pc:sldChg chg="addSp modSp add mod ord modNotesTx">
        <pc:chgData name="Md Fahim Hasan" userId="92968fce-d4dd-4b9e-8635-66a07c9f98a7" providerId="ADAL" clId="{3A6F4128-6482-4C75-8C7D-220A75826C22}" dt="2023-07-27T15:51:58.279" v="35706"/>
        <pc:sldMkLst>
          <pc:docMk/>
          <pc:sldMk cId="3932240654" sldId="2146846424"/>
        </pc:sldMkLst>
        <pc:spChg chg="mod">
          <ac:chgData name="Md Fahim Hasan" userId="92968fce-d4dd-4b9e-8635-66a07c9f98a7" providerId="ADAL" clId="{3A6F4128-6482-4C75-8C7D-220A75826C22}" dt="2023-07-27T15:51:58.279" v="35706"/>
          <ac:spMkLst>
            <pc:docMk/>
            <pc:sldMk cId="3932240654" sldId="2146846424"/>
            <ac:spMk id="2" creationId="{99AE1A04-85B3-C2B8-36C1-23AD8083AA4B}"/>
          </ac:spMkLst>
        </pc:spChg>
        <pc:spChg chg="add mod">
          <ac:chgData name="Md Fahim Hasan" userId="92968fce-d4dd-4b9e-8635-66a07c9f98a7" providerId="ADAL" clId="{3A6F4128-6482-4C75-8C7D-220A75826C22}" dt="2023-07-25T20:27:53.545" v="20559" actId="207"/>
          <ac:spMkLst>
            <pc:docMk/>
            <pc:sldMk cId="3932240654" sldId="2146846424"/>
            <ac:spMk id="4" creationId="{7F5F4019-3D4B-8395-A8BB-840FAF1EA8B1}"/>
          </ac:spMkLst>
        </pc:spChg>
        <pc:spChg chg="mod">
          <ac:chgData name="Md Fahim Hasan" userId="92968fce-d4dd-4b9e-8635-66a07c9f98a7" providerId="ADAL" clId="{3A6F4128-6482-4C75-8C7D-220A75826C22}" dt="2023-07-25T20:27:19.617" v="20520" actId="1076"/>
          <ac:spMkLst>
            <pc:docMk/>
            <pc:sldMk cId="3932240654" sldId="2146846424"/>
            <ac:spMk id="9" creationId="{DCE765C9-F866-A10C-05BC-B0F5CF7D4FA9}"/>
          </ac:spMkLst>
        </pc:spChg>
        <pc:picChg chg="mod">
          <ac:chgData name="Md Fahim Hasan" userId="92968fce-d4dd-4b9e-8635-66a07c9f98a7" providerId="ADAL" clId="{3A6F4128-6482-4C75-8C7D-220A75826C22}" dt="2023-07-25T20:26:23.110" v="20502" actId="1076"/>
          <ac:picMkLst>
            <pc:docMk/>
            <pc:sldMk cId="3932240654" sldId="2146846424"/>
            <ac:picMk id="3" creationId="{16BBEA49-B7C7-2619-44DA-70CDEE7990C0}"/>
          </ac:picMkLst>
        </pc:picChg>
      </pc:sldChg>
      <pc:sldChg chg="new del">
        <pc:chgData name="Md Fahim Hasan" userId="92968fce-d4dd-4b9e-8635-66a07c9f98a7" providerId="ADAL" clId="{3A6F4128-6482-4C75-8C7D-220A75826C22}" dt="2023-07-21T23:26:46.006" v="14150" actId="680"/>
        <pc:sldMkLst>
          <pc:docMk/>
          <pc:sldMk cId="2347350516" sldId="2146846425"/>
        </pc:sldMkLst>
      </pc:sldChg>
      <pc:sldChg chg="addSp delSp modSp add mod ord delAnim">
        <pc:chgData name="Md Fahim Hasan" userId="92968fce-d4dd-4b9e-8635-66a07c9f98a7" providerId="ADAL" clId="{3A6F4128-6482-4C75-8C7D-220A75826C22}" dt="2023-07-27T15:51:58.279" v="35706"/>
        <pc:sldMkLst>
          <pc:docMk/>
          <pc:sldMk cId="3866130774" sldId="2146846425"/>
        </pc:sldMkLst>
        <pc:spChg chg="del">
          <ac:chgData name="Md Fahim Hasan" userId="92968fce-d4dd-4b9e-8635-66a07c9f98a7" providerId="ADAL" clId="{3A6F4128-6482-4C75-8C7D-220A75826C22}" dt="2023-07-24T15:46:39.253" v="14467" actId="478"/>
          <ac:spMkLst>
            <pc:docMk/>
            <pc:sldMk cId="3866130774" sldId="2146846425"/>
            <ac:spMk id="2" creationId="{2D24C0E3-9AC6-9E0F-FEBB-E309F201ABEA}"/>
          </ac:spMkLst>
        </pc:spChg>
        <pc:spChg chg="mod">
          <ac:chgData name="Md Fahim Hasan" userId="92968fce-d4dd-4b9e-8635-66a07c9f98a7" providerId="ADAL" clId="{3A6F4128-6482-4C75-8C7D-220A75826C22}" dt="2023-07-27T15:51:58.279" v="35706"/>
          <ac:spMkLst>
            <pc:docMk/>
            <pc:sldMk cId="3866130774" sldId="2146846425"/>
            <ac:spMk id="3" creationId="{8F7366FC-D57D-85C7-3D1E-27B86798B5B2}"/>
          </ac:spMkLst>
        </pc:spChg>
        <pc:spChg chg="add mod">
          <ac:chgData name="Md Fahim Hasan" userId="92968fce-d4dd-4b9e-8635-66a07c9f98a7" providerId="ADAL" clId="{3A6F4128-6482-4C75-8C7D-220A75826C22}" dt="2023-07-24T16:21:26.152" v="15054" actId="20577"/>
          <ac:spMkLst>
            <pc:docMk/>
            <pc:sldMk cId="3866130774" sldId="2146846425"/>
            <ac:spMk id="6" creationId="{F9A90AC9-FF45-1DD7-CEB0-5E248581C50C}"/>
          </ac:spMkLst>
        </pc:spChg>
        <pc:spChg chg="add del mod">
          <ac:chgData name="Md Fahim Hasan" userId="92968fce-d4dd-4b9e-8635-66a07c9f98a7" providerId="ADAL" clId="{3A6F4128-6482-4C75-8C7D-220A75826C22}" dt="2023-07-24T15:46:29.673" v="14466" actId="20577"/>
          <ac:spMkLst>
            <pc:docMk/>
            <pc:sldMk cId="3866130774" sldId="2146846425"/>
            <ac:spMk id="9" creationId="{DCE765C9-F866-A10C-05BC-B0F5CF7D4FA9}"/>
          </ac:spMkLst>
        </pc:spChg>
        <pc:spChg chg="del">
          <ac:chgData name="Md Fahim Hasan" userId="92968fce-d4dd-4b9e-8635-66a07c9f98a7" providerId="ADAL" clId="{3A6F4128-6482-4C75-8C7D-220A75826C22}" dt="2023-07-24T15:46:39.253" v="14467" actId="478"/>
          <ac:spMkLst>
            <pc:docMk/>
            <pc:sldMk cId="3866130774" sldId="2146846425"/>
            <ac:spMk id="11" creationId="{34104EF3-AE2A-10CD-807A-5E8D98642890}"/>
          </ac:spMkLst>
        </pc:spChg>
        <pc:spChg chg="del">
          <ac:chgData name="Md Fahim Hasan" userId="92968fce-d4dd-4b9e-8635-66a07c9f98a7" providerId="ADAL" clId="{3A6F4128-6482-4C75-8C7D-220A75826C22}" dt="2023-07-24T15:46:39.253" v="14467" actId="478"/>
          <ac:spMkLst>
            <pc:docMk/>
            <pc:sldMk cId="3866130774" sldId="2146846425"/>
            <ac:spMk id="12" creationId="{563AE502-BE2B-F7DC-8070-3C524C7FC52F}"/>
          </ac:spMkLst>
        </pc:spChg>
        <pc:spChg chg="del">
          <ac:chgData name="Md Fahim Hasan" userId="92968fce-d4dd-4b9e-8635-66a07c9f98a7" providerId="ADAL" clId="{3A6F4128-6482-4C75-8C7D-220A75826C22}" dt="2023-07-24T15:46:39.253" v="14467" actId="478"/>
          <ac:spMkLst>
            <pc:docMk/>
            <pc:sldMk cId="3866130774" sldId="2146846425"/>
            <ac:spMk id="15" creationId="{A831B13C-8409-F4FA-2FD1-7B0D4DD54039}"/>
          </ac:spMkLst>
        </pc:spChg>
        <pc:spChg chg="del">
          <ac:chgData name="Md Fahim Hasan" userId="92968fce-d4dd-4b9e-8635-66a07c9f98a7" providerId="ADAL" clId="{3A6F4128-6482-4C75-8C7D-220A75826C22}" dt="2023-07-24T15:46:39.253" v="14467" actId="478"/>
          <ac:spMkLst>
            <pc:docMk/>
            <pc:sldMk cId="3866130774" sldId="2146846425"/>
            <ac:spMk id="16" creationId="{74FA2828-4265-79AB-6956-60772E0CBF25}"/>
          </ac:spMkLst>
        </pc:spChg>
        <pc:graphicFrameChg chg="add mod modGraphic">
          <ac:chgData name="Md Fahim Hasan" userId="92968fce-d4dd-4b9e-8635-66a07c9f98a7" providerId="ADAL" clId="{3A6F4128-6482-4C75-8C7D-220A75826C22}" dt="2023-07-24T16:20:49.807" v="15041" actId="20577"/>
          <ac:graphicFrameMkLst>
            <pc:docMk/>
            <pc:sldMk cId="3866130774" sldId="2146846425"/>
            <ac:graphicFrameMk id="5" creationId="{8954F76B-D164-244F-57F5-54AA63A6742C}"/>
          </ac:graphicFrameMkLst>
        </pc:graphicFrameChg>
        <pc:picChg chg="del">
          <ac:chgData name="Md Fahim Hasan" userId="92968fce-d4dd-4b9e-8635-66a07c9f98a7" providerId="ADAL" clId="{3A6F4128-6482-4C75-8C7D-220A75826C22}" dt="2023-07-24T15:46:39.253" v="14467" actId="478"/>
          <ac:picMkLst>
            <pc:docMk/>
            <pc:sldMk cId="3866130774" sldId="2146846425"/>
            <ac:picMk id="4" creationId="{1B7C3091-DEA4-66D1-884C-6CB2FD58DBE7}"/>
          </ac:picMkLst>
        </pc:picChg>
        <pc:picChg chg="del">
          <ac:chgData name="Md Fahim Hasan" userId="92968fce-d4dd-4b9e-8635-66a07c9f98a7" providerId="ADAL" clId="{3A6F4128-6482-4C75-8C7D-220A75826C22}" dt="2023-07-24T15:46:39.253" v="14467" actId="478"/>
          <ac:picMkLst>
            <pc:docMk/>
            <pc:sldMk cId="3866130774" sldId="2146846425"/>
            <ac:picMk id="7" creationId="{B5713B37-2314-473A-D0AE-587C49D1AB77}"/>
          </ac:picMkLst>
        </pc:picChg>
        <pc:picChg chg="del">
          <ac:chgData name="Md Fahim Hasan" userId="92968fce-d4dd-4b9e-8635-66a07c9f98a7" providerId="ADAL" clId="{3A6F4128-6482-4C75-8C7D-220A75826C22}" dt="2023-07-24T15:46:39.253" v="14467" actId="478"/>
          <ac:picMkLst>
            <pc:docMk/>
            <pc:sldMk cId="3866130774" sldId="2146846425"/>
            <ac:picMk id="13" creationId="{46FD433A-9C17-B9F2-33F5-318B3A425069}"/>
          </ac:picMkLst>
        </pc:picChg>
        <pc:picChg chg="del">
          <ac:chgData name="Md Fahim Hasan" userId="92968fce-d4dd-4b9e-8635-66a07c9f98a7" providerId="ADAL" clId="{3A6F4128-6482-4C75-8C7D-220A75826C22}" dt="2023-07-24T15:46:39.253" v="14467" actId="478"/>
          <ac:picMkLst>
            <pc:docMk/>
            <pc:sldMk cId="3866130774" sldId="2146846425"/>
            <ac:picMk id="14" creationId="{D31D8173-1F85-39E6-CA70-70E6E8DBB3C5}"/>
          </ac:picMkLst>
        </pc:picChg>
        <pc:cxnChg chg="del">
          <ac:chgData name="Md Fahim Hasan" userId="92968fce-d4dd-4b9e-8635-66a07c9f98a7" providerId="ADAL" clId="{3A6F4128-6482-4C75-8C7D-220A75826C22}" dt="2023-07-24T15:46:39.253" v="14467" actId="478"/>
          <ac:cxnSpMkLst>
            <pc:docMk/>
            <pc:sldMk cId="3866130774" sldId="2146846425"/>
            <ac:cxnSpMk id="24" creationId="{99D01E62-F77D-E62A-0C2D-824A66B5AD7B}"/>
          </ac:cxnSpMkLst>
        </pc:cxnChg>
      </pc:sldChg>
      <pc:sldChg chg="addSp delSp modSp add mod ord delAnim modShow modNotesTx">
        <pc:chgData name="Md Fahim Hasan" userId="92968fce-d4dd-4b9e-8635-66a07c9f98a7" providerId="ADAL" clId="{3A6F4128-6482-4C75-8C7D-220A75826C22}" dt="2023-07-28T19:09:38.040" v="39267"/>
        <pc:sldMkLst>
          <pc:docMk/>
          <pc:sldMk cId="2294886516" sldId="2146846426"/>
        </pc:sldMkLst>
        <pc:spChg chg="add mod">
          <ac:chgData name="Md Fahim Hasan" userId="92968fce-d4dd-4b9e-8635-66a07c9f98a7" providerId="ADAL" clId="{3A6F4128-6482-4C75-8C7D-220A75826C22}" dt="2023-07-26T20:31:16.700" v="28459" actId="115"/>
          <ac:spMkLst>
            <pc:docMk/>
            <pc:sldMk cId="2294886516" sldId="2146846426"/>
            <ac:spMk id="2" creationId="{4F12E48C-FEAB-6C41-9C4F-9F5339F51EE2}"/>
          </ac:spMkLst>
        </pc:spChg>
        <pc:spChg chg="del">
          <ac:chgData name="Md Fahim Hasan" userId="92968fce-d4dd-4b9e-8635-66a07c9f98a7" providerId="ADAL" clId="{3A6F4128-6482-4C75-8C7D-220A75826C22}" dt="2023-07-24T16:26:29.799" v="15056" actId="478"/>
          <ac:spMkLst>
            <pc:docMk/>
            <pc:sldMk cId="2294886516" sldId="2146846426"/>
            <ac:spMk id="2" creationId="{D6F33AD6-BCD0-7BD2-5890-1C682DC785B4}"/>
          </ac:spMkLst>
        </pc:spChg>
        <pc:spChg chg="add mod">
          <ac:chgData name="Md Fahim Hasan" userId="92968fce-d4dd-4b9e-8635-66a07c9f98a7" providerId="ADAL" clId="{3A6F4128-6482-4C75-8C7D-220A75826C22}" dt="2023-07-26T20:29:49.872" v="28336" actId="20577"/>
          <ac:spMkLst>
            <pc:docMk/>
            <pc:sldMk cId="2294886516" sldId="2146846426"/>
            <ac:spMk id="3" creationId="{6EF2534A-6427-DD43-A57B-D7EDEEA6901D}"/>
          </ac:spMkLst>
        </pc:spChg>
        <pc:spChg chg="add mod">
          <ac:chgData name="Md Fahim Hasan" userId="92968fce-d4dd-4b9e-8635-66a07c9f98a7" providerId="ADAL" clId="{3A6F4128-6482-4C75-8C7D-220A75826C22}" dt="2023-07-27T19:45:30.487" v="37600" actId="1076"/>
          <ac:spMkLst>
            <pc:docMk/>
            <pc:sldMk cId="2294886516" sldId="2146846426"/>
            <ac:spMk id="4" creationId="{567C13A3-8F58-C44F-5F8E-F6795BD086F9}"/>
          </ac:spMkLst>
        </pc:spChg>
        <pc:spChg chg="add del mod">
          <ac:chgData name="Md Fahim Hasan" userId="92968fce-d4dd-4b9e-8635-66a07c9f98a7" providerId="ADAL" clId="{3A6F4128-6482-4C75-8C7D-220A75826C22}" dt="2023-07-25T17:18:02.633" v="18408" actId="478"/>
          <ac:spMkLst>
            <pc:docMk/>
            <pc:sldMk cId="2294886516" sldId="2146846426"/>
            <ac:spMk id="6" creationId="{1045763F-822D-6BDF-A415-0DD62A9BF844}"/>
          </ac:spMkLst>
        </pc:spChg>
        <pc:spChg chg="mod">
          <ac:chgData name="Md Fahim Hasan" userId="92968fce-d4dd-4b9e-8635-66a07c9f98a7" providerId="ADAL" clId="{3A6F4128-6482-4C75-8C7D-220A75826C22}" dt="2023-07-27T15:51:58.279" v="35706"/>
          <ac:spMkLst>
            <pc:docMk/>
            <pc:sldMk cId="2294886516" sldId="2146846426"/>
            <ac:spMk id="8" creationId="{F7121A09-0EC1-9B80-94A4-5E900DAED457}"/>
          </ac:spMkLst>
        </pc:spChg>
        <pc:spChg chg="del">
          <ac:chgData name="Md Fahim Hasan" userId="92968fce-d4dd-4b9e-8635-66a07c9f98a7" providerId="ADAL" clId="{3A6F4128-6482-4C75-8C7D-220A75826C22}" dt="2023-07-24T16:26:29.799" v="15056" actId="478"/>
          <ac:spMkLst>
            <pc:docMk/>
            <pc:sldMk cId="2294886516" sldId="2146846426"/>
            <ac:spMk id="11" creationId="{34104EF3-AE2A-10CD-807A-5E8D98642890}"/>
          </ac:spMkLst>
        </pc:spChg>
        <pc:spChg chg="del">
          <ac:chgData name="Md Fahim Hasan" userId="92968fce-d4dd-4b9e-8635-66a07c9f98a7" providerId="ADAL" clId="{3A6F4128-6482-4C75-8C7D-220A75826C22}" dt="2023-07-24T16:26:29.799" v="15056" actId="478"/>
          <ac:spMkLst>
            <pc:docMk/>
            <pc:sldMk cId="2294886516" sldId="2146846426"/>
            <ac:spMk id="12" creationId="{563AE502-BE2B-F7DC-8070-3C524C7FC52F}"/>
          </ac:spMkLst>
        </pc:spChg>
        <pc:spChg chg="del">
          <ac:chgData name="Md Fahim Hasan" userId="92968fce-d4dd-4b9e-8635-66a07c9f98a7" providerId="ADAL" clId="{3A6F4128-6482-4C75-8C7D-220A75826C22}" dt="2023-07-24T16:26:29.799" v="15056" actId="478"/>
          <ac:spMkLst>
            <pc:docMk/>
            <pc:sldMk cId="2294886516" sldId="2146846426"/>
            <ac:spMk id="15" creationId="{A831B13C-8409-F4FA-2FD1-7B0D4DD54039}"/>
          </ac:spMkLst>
        </pc:spChg>
        <pc:spChg chg="del">
          <ac:chgData name="Md Fahim Hasan" userId="92968fce-d4dd-4b9e-8635-66a07c9f98a7" providerId="ADAL" clId="{3A6F4128-6482-4C75-8C7D-220A75826C22}" dt="2023-07-24T16:26:29.799" v="15056" actId="478"/>
          <ac:spMkLst>
            <pc:docMk/>
            <pc:sldMk cId="2294886516" sldId="2146846426"/>
            <ac:spMk id="16" creationId="{74FA2828-4265-79AB-6956-60772E0CBF25}"/>
          </ac:spMkLst>
        </pc:spChg>
        <pc:picChg chg="del">
          <ac:chgData name="Md Fahim Hasan" userId="92968fce-d4dd-4b9e-8635-66a07c9f98a7" providerId="ADAL" clId="{3A6F4128-6482-4C75-8C7D-220A75826C22}" dt="2023-07-24T16:26:29.799" v="15056" actId="478"/>
          <ac:picMkLst>
            <pc:docMk/>
            <pc:sldMk cId="2294886516" sldId="2146846426"/>
            <ac:picMk id="4" creationId="{1B7C3091-DEA4-66D1-884C-6CB2FD58DBE7}"/>
          </ac:picMkLst>
        </pc:picChg>
        <pc:picChg chg="add mod">
          <ac:chgData name="Md Fahim Hasan" userId="92968fce-d4dd-4b9e-8635-66a07c9f98a7" providerId="ADAL" clId="{3A6F4128-6482-4C75-8C7D-220A75826C22}" dt="2023-07-26T20:29:06.746" v="28280" actId="14826"/>
          <ac:picMkLst>
            <pc:docMk/>
            <pc:sldMk cId="2294886516" sldId="2146846426"/>
            <ac:picMk id="5" creationId="{FFB1E75E-CD71-507C-BB0A-BE0ACF1CB6FC}"/>
          </ac:picMkLst>
        </pc:picChg>
        <pc:picChg chg="del">
          <ac:chgData name="Md Fahim Hasan" userId="92968fce-d4dd-4b9e-8635-66a07c9f98a7" providerId="ADAL" clId="{3A6F4128-6482-4C75-8C7D-220A75826C22}" dt="2023-07-24T16:26:29.799" v="15056" actId="478"/>
          <ac:picMkLst>
            <pc:docMk/>
            <pc:sldMk cId="2294886516" sldId="2146846426"/>
            <ac:picMk id="7" creationId="{B5713B37-2314-473A-D0AE-587C49D1AB77}"/>
          </ac:picMkLst>
        </pc:picChg>
        <pc:picChg chg="del">
          <ac:chgData name="Md Fahim Hasan" userId="92968fce-d4dd-4b9e-8635-66a07c9f98a7" providerId="ADAL" clId="{3A6F4128-6482-4C75-8C7D-220A75826C22}" dt="2023-07-24T16:26:29.799" v="15056" actId="478"/>
          <ac:picMkLst>
            <pc:docMk/>
            <pc:sldMk cId="2294886516" sldId="2146846426"/>
            <ac:picMk id="13" creationId="{46FD433A-9C17-B9F2-33F5-318B3A425069}"/>
          </ac:picMkLst>
        </pc:picChg>
        <pc:picChg chg="del">
          <ac:chgData name="Md Fahim Hasan" userId="92968fce-d4dd-4b9e-8635-66a07c9f98a7" providerId="ADAL" clId="{3A6F4128-6482-4C75-8C7D-220A75826C22}" dt="2023-07-24T16:26:29.799" v="15056" actId="478"/>
          <ac:picMkLst>
            <pc:docMk/>
            <pc:sldMk cId="2294886516" sldId="2146846426"/>
            <ac:picMk id="14" creationId="{D31D8173-1F85-39E6-CA70-70E6E8DBB3C5}"/>
          </ac:picMkLst>
        </pc:picChg>
        <pc:cxnChg chg="del">
          <ac:chgData name="Md Fahim Hasan" userId="92968fce-d4dd-4b9e-8635-66a07c9f98a7" providerId="ADAL" clId="{3A6F4128-6482-4C75-8C7D-220A75826C22}" dt="2023-07-24T16:26:29.799" v="15056" actId="478"/>
          <ac:cxnSpMkLst>
            <pc:docMk/>
            <pc:sldMk cId="2294886516" sldId="2146846426"/>
            <ac:cxnSpMk id="24" creationId="{99D01E62-F77D-E62A-0C2D-824A66B5AD7B}"/>
          </ac:cxnSpMkLst>
        </pc:cxnChg>
      </pc:sldChg>
      <pc:sldChg chg="addSp modSp add del mod">
        <pc:chgData name="Md Fahim Hasan" userId="92968fce-d4dd-4b9e-8635-66a07c9f98a7" providerId="ADAL" clId="{3A6F4128-6482-4C75-8C7D-220A75826C22}" dt="2023-07-25T18:59:14.378" v="19450" actId="2696"/>
        <pc:sldMkLst>
          <pc:docMk/>
          <pc:sldMk cId="2693069310" sldId="2146846427"/>
        </pc:sldMkLst>
        <pc:spChg chg="add mod">
          <ac:chgData name="Md Fahim Hasan" userId="92968fce-d4dd-4b9e-8635-66a07c9f98a7" providerId="ADAL" clId="{3A6F4128-6482-4C75-8C7D-220A75826C22}" dt="2023-07-25T16:05:51.248" v="18042" actId="20577"/>
          <ac:spMkLst>
            <pc:docMk/>
            <pc:sldMk cId="2693069310" sldId="2146846427"/>
            <ac:spMk id="3" creationId="{DDF9BE8D-3E31-FA06-BAA2-2DEDD80E14DD}"/>
          </ac:spMkLst>
        </pc:spChg>
        <pc:spChg chg="mod">
          <ac:chgData name="Md Fahim Hasan" userId="92968fce-d4dd-4b9e-8635-66a07c9f98a7" providerId="ADAL" clId="{3A6F4128-6482-4C75-8C7D-220A75826C22}" dt="2023-07-25T17:17:47.894" v="18407" actId="20577"/>
          <ac:spMkLst>
            <pc:docMk/>
            <pc:sldMk cId="2693069310" sldId="2146846427"/>
            <ac:spMk id="6" creationId="{1045763F-822D-6BDF-A415-0DD62A9BF844}"/>
          </ac:spMkLst>
        </pc:spChg>
        <pc:spChg chg="mod">
          <ac:chgData name="Md Fahim Hasan" userId="92968fce-d4dd-4b9e-8635-66a07c9f98a7" providerId="ADAL" clId="{3A6F4128-6482-4C75-8C7D-220A75826C22}" dt="2023-07-24T16:33:28.593" v="15218" actId="20577"/>
          <ac:spMkLst>
            <pc:docMk/>
            <pc:sldMk cId="2693069310" sldId="2146846427"/>
            <ac:spMk id="9" creationId="{DCE765C9-F866-A10C-05BC-B0F5CF7D4FA9}"/>
          </ac:spMkLst>
        </pc:spChg>
        <pc:picChg chg="mod">
          <ac:chgData name="Md Fahim Hasan" userId="92968fce-d4dd-4b9e-8635-66a07c9f98a7" providerId="ADAL" clId="{3A6F4128-6482-4C75-8C7D-220A75826C22}" dt="2023-07-25T16:05:14.121" v="18015" actId="1076"/>
          <ac:picMkLst>
            <pc:docMk/>
            <pc:sldMk cId="2693069310" sldId="2146846427"/>
            <ac:picMk id="5" creationId="{FFB1E75E-CD71-507C-BB0A-BE0ACF1CB6FC}"/>
          </ac:picMkLst>
        </pc:picChg>
      </pc:sldChg>
      <pc:sldChg chg="addSp delSp modSp add mod">
        <pc:chgData name="Md Fahim Hasan" userId="92968fce-d4dd-4b9e-8635-66a07c9f98a7" providerId="ADAL" clId="{3A6F4128-6482-4C75-8C7D-220A75826C22}" dt="2023-07-27T15:51:58.279" v="35706"/>
        <pc:sldMkLst>
          <pc:docMk/>
          <pc:sldMk cId="4054525422" sldId="2146846427"/>
        </pc:sldMkLst>
        <pc:spChg chg="mod">
          <ac:chgData name="Md Fahim Hasan" userId="92968fce-d4dd-4b9e-8635-66a07c9f98a7" providerId="ADAL" clId="{3A6F4128-6482-4C75-8C7D-220A75826C22}" dt="2023-07-27T15:51:58.279" v="35706"/>
          <ac:spMkLst>
            <pc:docMk/>
            <pc:sldMk cId="4054525422" sldId="2146846427"/>
            <ac:spMk id="2" creationId="{13DBE0CA-2E0D-B5BD-10B2-DA3C2EE8EEE3}"/>
          </ac:spMkLst>
        </pc:spChg>
        <pc:spChg chg="add mod">
          <ac:chgData name="Md Fahim Hasan" userId="92968fce-d4dd-4b9e-8635-66a07c9f98a7" providerId="ADAL" clId="{3A6F4128-6482-4C75-8C7D-220A75826C22}" dt="2023-07-26T22:12:27.562" v="30810"/>
          <ac:spMkLst>
            <pc:docMk/>
            <pc:sldMk cId="4054525422" sldId="2146846427"/>
            <ac:spMk id="3" creationId="{70038EA7-000B-214F-556F-2D23D78E72CB}"/>
          </ac:spMkLst>
        </pc:spChg>
        <pc:spChg chg="del">
          <ac:chgData name="Md Fahim Hasan" userId="92968fce-d4dd-4b9e-8635-66a07c9f98a7" providerId="ADAL" clId="{3A6F4128-6482-4C75-8C7D-220A75826C22}" dt="2023-07-25T20:17:47.550" v="20358" actId="478"/>
          <ac:spMkLst>
            <pc:docMk/>
            <pc:sldMk cId="4054525422" sldId="2146846427"/>
            <ac:spMk id="3" creationId="{DDF9BE8D-3E31-FA06-BAA2-2DEDD80E14DD}"/>
          </ac:spMkLst>
        </pc:spChg>
        <pc:spChg chg="add del mod">
          <ac:chgData name="Md Fahim Hasan" userId="92968fce-d4dd-4b9e-8635-66a07c9f98a7" providerId="ADAL" clId="{3A6F4128-6482-4C75-8C7D-220A75826C22}" dt="2023-07-26T22:12:27.116" v="30809" actId="478"/>
          <ac:spMkLst>
            <pc:docMk/>
            <pc:sldMk cId="4054525422" sldId="2146846427"/>
            <ac:spMk id="4" creationId="{9F47F120-5DB1-941B-86B1-B03D38C95BC7}"/>
          </ac:spMkLst>
        </pc:spChg>
        <pc:spChg chg="del">
          <ac:chgData name="Md Fahim Hasan" userId="92968fce-d4dd-4b9e-8635-66a07c9f98a7" providerId="ADAL" clId="{3A6F4128-6482-4C75-8C7D-220A75826C22}" dt="2023-07-25T20:17:34.910" v="20356" actId="478"/>
          <ac:spMkLst>
            <pc:docMk/>
            <pc:sldMk cId="4054525422" sldId="2146846427"/>
            <ac:spMk id="6" creationId="{1045763F-822D-6BDF-A415-0DD62A9BF844}"/>
          </ac:spMkLst>
        </pc:spChg>
        <pc:spChg chg="add mod">
          <ac:chgData name="Md Fahim Hasan" userId="92968fce-d4dd-4b9e-8635-66a07c9f98a7" providerId="ADAL" clId="{3A6F4128-6482-4C75-8C7D-220A75826C22}" dt="2023-07-26T22:13:27.771" v="30836" actId="1076"/>
          <ac:spMkLst>
            <pc:docMk/>
            <pc:sldMk cId="4054525422" sldId="2146846427"/>
            <ac:spMk id="6" creationId="{D9D897AA-F547-B38D-5EC7-6F9B21D992C9}"/>
          </ac:spMkLst>
        </pc:spChg>
        <pc:spChg chg="add mod">
          <ac:chgData name="Md Fahim Hasan" userId="92968fce-d4dd-4b9e-8635-66a07c9f98a7" providerId="ADAL" clId="{3A6F4128-6482-4C75-8C7D-220A75826C22}" dt="2023-07-25T20:17:57.782" v="20381" actId="115"/>
          <ac:spMkLst>
            <pc:docMk/>
            <pc:sldMk cId="4054525422" sldId="2146846427"/>
            <ac:spMk id="7" creationId="{FD8378DE-F5EB-1E8C-883F-7E3E98AD8C06}"/>
          </ac:spMkLst>
        </pc:spChg>
        <pc:spChg chg="add del mod">
          <ac:chgData name="Md Fahim Hasan" userId="92968fce-d4dd-4b9e-8635-66a07c9f98a7" providerId="ADAL" clId="{3A6F4128-6482-4C75-8C7D-220A75826C22}" dt="2023-07-26T22:13:31.575" v="30838"/>
          <ac:spMkLst>
            <pc:docMk/>
            <pc:sldMk cId="4054525422" sldId="2146846427"/>
            <ac:spMk id="8" creationId="{E5A0F3FD-CD87-746E-B0F5-D302EBF4BB6B}"/>
          </ac:spMkLst>
        </pc:spChg>
        <pc:spChg chg="add mod">
          <ac:chgData name="Md Fahim Hasan" userId="92968fce-d4dd-4b9e-8635-66a07c9f98a7" providerId="ADAL" clId="{3A6F4128-6482-4C75-8C7D-220A75826C22}" dt="2023-07-26T22:13:45.510" v="30846" actId="1076"/>
          <ac:spMkLst>
            <pc:docMk/>
            <pc:sldMk cId="4054525422" sldId="2146846427"/>
            <ac:spMk id="10" creationId="{CC650680-B20E-2E1A-596D-9106EFE41B86}"/>
          </ac:spMkLst>
        </pc:spChg>
        <pc:spChg chg="add mod">
          <ac:chgData name="Md Fahim Hasan" userId="92968fce-d4dd-4b9e-8635-66a07c9f98a7" providerId="ADAL" clId="{3A6F4128-6482-4C75-8C7D-220A75826C22}" dt="2023-07-26T22:13:54.963" v="30860" actId="122"/>
          <ac:spMkLst>
            <pc:docMk/>
            <pc:sldMk cId="4054525422" sldId="2146846427"/>
            <ac:spMk id="11" creationId="{1A922FD9-3DB5-C721-F8E1-C6A531459DCE}"/>
          </ac:spMkLst>
        </pc:spChg>
        <pc:picChg chg="mod">
          <ac:chgData name="Md Fahim Hasan" userId="92968fce-d4dd-4b9e-8635-66a07c9f98a7" providerId="ADAL" clId="{3A6F4128-6482-4C75-8C7D-220A75826C22}" dt="2023-07-25T20:22:24.892" v="20418" actId="1076"/>
          <ac:picMkLst>
            <pc:docMk/>
            <pc:sldMk cId="4054525422" sldId="2146846427"/>
            <ac:picMk id="5" creationId="{FFB1E75E-CD71-507C-BB0A-BE0ACF1CB6FC}"/>
          </ac:picMkLst>
        </pc:picChg>
      </pc:sldChg>
      <pc:sldChg chg="addSp delSp modSp add mod ord modNotesTx">
        <pc:chgData name="Md Fahim Hasan" userId="92968fce-d4dd-4b9e-8635-66a07c9f98a7" providerId="ADAL" clId="{3A6F4128-6482-4C75-8C7D-220A75826C22}" dt="2023-07-28T17:36:00.863" v="39062"/>
        <pc:sldMkLst>
          <pc:docMk/>
          <pc:sldMk cId="2148413348" sldId="2146846428"/>
        </pc:sldMkLst>
        <pc:spChg chg="mod">
          <ac:chgData name="Md Fahim Hasan" userId="92968fce-d4dd-4b9e-8635-66a07c9f98a7" providerId="ADAL" clId="{3A6F4128-6482-4C75-8C7D-220A75826C22}" dt="2023-07-27T15:51:58.279" v="35706"/>
          <ac:spMkLst>
            <pc:docMk/>
            <pc:sldMk cId="2148413348" sldId="2146846428"/>
            <ac:spMk id="2" creationId="{0A60EB20-EC01-4148-142A-A90438FBEEA2}"/>
          </ac:spMkLst>
        </pc:spChg>
        <pc:spChg chg="add del mod">
          <ac:chgData name="Md Fahim Hasan" userId="92968fce-d4dd-4b9e-8635-66a07c9f98a7" providerId="ADAL" clId="{3A6F4128-6482-4C75-8C7D-220A75826C22}" dt="2023-07-25T20:17:01.534" v="20331" actId="478"/>
          <ac:spMkLst>
            <pc:docMk/>
            <pc:sldMk cId="2148413348" sldId="2146846428"/>
            <ac:spMk id="3" creationId="{3AD526E3-9EC2-EFF4-55CE-49C4E77E9E4E}"/>
          </ac:spMkLst>
        </pc:spChg>
        <pc:spChg chg="add mod">
          <ac:chgData name="Md Fahim Hasan" userId="92968fce-d4dd-4b9e-8635-66a07c9f98a7" providerId="ADAL" clId="{3A6F4128-6482-4C75-8C7D-220A75826C22}" dt="2023-07-26T20:54:08.993" v="28864" actId="1076"/>
          <ac:spMkLst>
            <pc:docMk/>
            <pc:sldMk cId="2148413348" sldId="2146846428"/>
            <ac:spMk id="3" creationId="{CF2E21D2-7571-4C77-B831-1A36117C1D1B}"/>
          </ac:spMkLst>
        </pc:spChg>
        <pc:spChg chg="add mod">
          <ac:chgData name="Md Fahim Hasan" userId="92968fce-d4dd-4b9e-8635-66a07c9f98a7" providerId="ADAL" clId="{3A6F4128-6482-4C75-8C7D-220A75826C22}" dt="2023-07-26T20:54:18.066" v="28867" actId="115"/>
          <ac:spMkLst>
            <pc:docMk/>
            <pc:sldMk cId="2148413348" sldId="2146846428"/>
            <ac:spMk id="4" creationId="{26A528D3-6165-AA0D-8B5A-5F6EDD064ED7}"/>
          </ac:spMkLst>
        </pc:spChg>
        <pc:spChg chg="del">
          <ac:chgData name="Md Fahim Hasan" userId="92968fce-d4dd-4b9e-8635-66a07c9f98a7" providerId="ADAL" clId="{3A6F4128-6482-4C75-8C7D-220A75826C22}" dt="2023-07-25T20:17:21.639" v="20353" actId="478"/>
          <ac:spMkLst>
            <pc:docMk/>
            <pc:sldMk cId="2148413348" sldId="2146846428"/>
            <ac:spMk id="6" creationId="{1045763F-822D-6BDF-A415-0DD62A9BF844}"/>
          </ac:spMkLst>
        </pc:spChg>
        <pc:spChg chg="add del mod">
          <ac:chgData name="Md Fahim Hasan" userId="92968fce-d4dd-4b9e-8635-66a07c9f98a7" providerId="ADAL" clId="{3A6F4128-6482-4C75-8C7D-220A75826C22}" dt="2023-07-27T19:42:12.759" v="37541"/>
          <ac:spMkLst>
            <pc:docMk/>
            <pc:sldMk cId="2148413348" sldId="2146846428"/>
            <ac:spMk id="6" creationId="{AA8EC243-E739-59CF-0565-E82AD70DC952}"/>
          </ac:spMkLst>
        </pc:spChg>
        <pc:spChg chg="add del mod">
          <ac:chgData name="Md Fahim Hasan" userId="92968fce-d4dd-4b9e-8635-66a07c9f98a7" providerId="ADAL" clId="{3A6F4128-6482-4C75-8C7D-220A75826C22}" dt="2023-07-26T20:54:04.658" v="28862" actId="478"/>
          <ac:spMkLst>
            <pc:docMk/>
            <pc:sldMk cId="2148413348" sldId="2146846428"/>
            <ac:spMk id="7" creationId="{64939489-9015-5269-90BF-6433B909F859}"/>
          </ac:spMkLst>
        </pc:spChg>
        <pc:spChg chg="add del mod">
          <ac:chgData name="Md Fahim Hasan" userId="92968fce-d4dd-4b9e-8635-66a07c9f98a7" providerId="ADAL" clId="{3A6F4128-6482-4C75-8C7D-220A75826C22}" dt="2023-07-27T19:45:49.990" v="37602"/>
          <ac:spMkLst>
            <pc:docMk/>
            <pc:sldMk cId="2148413348" sldId="2146846428"/>
            <ac:spMk id="7" creationId="{B096693A-4879-2C50-BDCC-8197F44F04AB}"/>
          </ac:spMkLst>
        </pc:spChg>
        <pc:spChg chg="add mod">
          <ac:chgData name="Md Fahim Hasan" userId="92968fce-d4dd-4b9e-8635-66a07c9f98a7" providerId="ADAL" clId="{3A6F4128-6482-4C75-8C7D-220A75826C22}" dt="2023-07-27T19:45:59.508" v="37604" actId="1076"/>
          <ac:spMkLst>
            <pc:docMk/>
            <pc:sldMk cId="2148413348" sldId="2146846428"/>
            <ac:spMk id="8" creationId="{B258A952-5F02-72D1-9663-1399AC6760A4}"/>
          </ac:spMkLst>
        </pc:spChg>
        <pc:spChg chg="mod">
          <ac:chgData name="Md Fahim Hasan" userId="92968fce-d4dd-4b9e-8635-66a07c9f98a7" providerId="ADAL" clId="{3A6F4128-6482-4C75-8C7D-220A75826C22}" dt="2023-07-24T16:34:02.568" v="15240" actId="20577"/>
          <ac:spMkLst>
            <pc:docMk/>
            <pc:sldMk cId="2148413348" sldId="2146846428"/>
            <ac:spMk id="9" creationId="{DCE765C9-F866-A10C-05BC-B0F5CF7D4FA9}"/>
          </ac:spMkLst>
        </pc:spChg>
        <pc:picChg chg="mod">
          <ac:chgData name="Md Fahim Hasan" userId="92968fce-d4dd-4b9e-8635-66a07c9f98a7" providerId="ADAL" clId="{3A6F4128-6482-4C75-8C7D-220A75826C22}" dt="2023-07-26T20:53:57.166" v="28861" actId="14826"/>
          <ac:picMkLst>
            <pc:docMk/>
            <pc:sldMk cId="2148413348" sldId="2146846428"/>
            <ac:picMk id="5" creationId="{FFB1E75E-CD71-507C-BB0A-BE0ACF1CB6FC}"/>
          </ac:picMkLst>
        </pc:picChg>
      </pc:sldChg>
      <pc:sldChg chg="delSp add del setBg delDesignElem">
        <pc:chgData name="Md Fahim Hasan" userId="92968fce-d4dd-4b9e-8635-66a07c9f98a7" providerId="ADAL" clId="{3A6F4128-6482-4C75-8C7D-220A75826C22}" dt="2023-07-24T17:49:58.640" v="16186" actId="47"/>
        <pc:sldMkLst>
          <pc:docMk/>
          <pc:sldMk cId="726946769" sldId="2146846429"/>
        </pc:sldMkLst>
        <pc:spChg chg="del">
          <ac:chgData name="Md Fahim Hasan" userId="92968fce-d4dd-4b9e-8635-66a07c9f98a7" providerId="ADAL" clId="{3A6F4128-6482-4C75-8C7D-220A75826C22}" dt="2023-07-24T17:49:40.490" v="16185"/>
          <ac:spMkLst>
            <pc:docMk/>
            <pc:sldMk cId="726946769" sldId="2146846429"/>
            <ac:spMk id="18" creationId="{35F60170-91B4-45F0-B88B-9C07AEC4642C}"/>
          </ac:spMkLst>
        </pc:spChg>
        <pc:spChg chg="del">
          <ac:chgData name="Md Fahim Hasan" userId="92968fce-d4dd-4b9e-8635-66a07c9f98a7" providerId="ADAL" clId="{3A6F4128-6482-4C75-8C7D-220A75826C22}" dt="2023-07-24T17:49:40.490" v="16185"/>
          <ac:spMkLst>
            <pc:docMk/>
            <pc:sldMk cId="726946769" sldId="2146846429"/>
            <ac:spMk id="19" creationId="{2C7D7C94-41C0-4614-8A18-941174D4D2AF}"/>
          </ac:spMkLst>
        </pc:spChg>
        <pc:grpChg chg="del">
          <ac:chgData name="Md Fahim Hasan" userId="92968fce-d4dd-4b9e-8635-66a07c9f98a7" providerId="ADAL" clId="{3A6F4128-6482-4C75-8C7D-220A75826C22}" dt="2023-07-24T17:49:40.490" v="16185"/>
          <ac:grpSpMkLst>
            <pc:docMk/>
            <pc:sldMk cId="726946769" sldId="2146846429"/>
            <ac:grpSpMk id="25" creationId="{65B3D45F-509E-43F3-B685-A5E78AD0D820}"/>
          </ac:grpSpMkLst>
        </pc:grpChg>
        <pc:cxnChg chg="del">
          <ac:chgData name="Md Fahim Hasan" userId="92968fce-d4dd-4b9e-8635-66a07c9f98a7" providerId="ADAL" clId="{3A6F4128-6482-4C75-8C7D-220A75826C22}" dt="2023-07-24T17:49:40.490" v="16185"/>
          <ac:cxnSpMkLst>
            <pc:docMk/>
            <pc:sldMk cId="726946769" sldId="2146846429"/>
            <ac:cxnSpMk id="21" creationId="{61F6FBC1-6409-4059-B87B-1BE513242FE6}"/>
          </ac:cxnSpMkLst>
        </pc:cxnChg>
        <pc:cxnChg chg="del">
          <ac:chgData name="Md Fahim Hasan" userId="92968fce-d4dd-4b9e-8635-66a07c9f98a7" providerId="ADAL" clId="{3A6F4128-6482-4C75-8C7D-220A75826C22}" dt="2023-07-24T17:49:40.490" v="16185"/>
          <ac:cxnSpMkLst>
            <pc:docMk/>
            <pc:sldMk cId="726946769" sldId="2146846429"/>
            <ac:cxnSpMk id="23" creationId="{E6A98E26-C7DC-48E3-8F50-FBF7F3C50F4C}"/>
          </ac:cxnSpMkLst>
        </pc:cxnChg>
      </pc:sldChg>
      <pc:sldChg chg="delSp modSp add del mod setBg delDesignElem">
        <pc:chgData name="Md Fahim Hasan" userId="92968fce-d4dd-4b9e-8635-66a07c9f98a7" providerId="ADAL" clId="{3A6F4128-6482-4C75-8C7D-220A75826C22}" dt="2023-07-24T17:50:53.955" v="16194" actId="47"/>
        <pc:sldMkLst>
          <pc:docMk/>
          <pc:sldMk cId="2490606410" sldId="2146846429"/>
        </pc:sldMkLst>
        <pc:spChg chg="mod">
          <ac:chgData name="Md Fahim Hasan" userId="92968fce-d4dd-4b9e-8635-66a07c9f98a7" providerId="ADAL" clId="{3A6F4128-6482-4C75-8C7D-220A75826C22}" dt="2023-07-24T17:50:29.773" v="16191" actId="20577"/>
          <ac:spMkLst>
            <pc:docMk/>
            <pc:sldMk cId="2490606410" sldId="2146846429"/>
            <ac:spMk id="9" creationId="{DCE765C9-F866-A10C-05BC-B0F5CF7D4FA9}"/>
          </ac:spMkLst>
        </pc:spChg>
        <pc:spChg chg="del">
          <ac:chgData name="Md Fahim Hasan" userId="92968fce-d4dd-4b9e-8635-66a07c9f98a7" providerId="ADAL" clId="{3A6F4128-6482-4C75-8C7D-220A75826C22}" dt="2023-07-24T17:50:09.042" v="16188"/>
          <ac:spMkLst>
            <pc:docMk/>
            <pc:sldMk cId="2490606410" sldId="2146846429"/>
            <ac:spMk id="18" creationId="{35F60170-91B4-45F0-B88B-9C07AEC4642C}"/>
          </ac:spMkLst>
        </pc:spChg>
        <pc:spChg chg="del">
          <ac:chgData name="Md Fahim Hasan" userId="92968fce-d4dd-4b9e-8635-66a07c9f98a7" providerId="ADAL" clId="{3A6F4128-6482-4C75-8C7D-220A75826C22}" dt="2023-07-24T17:50:09.042" v="16188"/>
          <ac:spMkLst>
            <pc:docMk/>
            <pc:sldMk cId="2490606410" sldId="2146846429"/>
            <ac:spMk id="19" creationId="{2C7D7C94-41C0-4614-8A18-941174D4D2AF}"/>
          </ac:spMkLst>
        </pc:spChg>
        <pc:grpChg chg="del">
          <ac:chgData name="Md Fahim Hasan" userId="92968fce-d4dd-4b9e-8635-66a07c9f98a7" providerId="ADAL" clId="{3A6F4128-6482-4C75-8C7D-220A75826C22}" dt="2023-07-24T17:50:09.042" v="16188"/>
          <ac:grpSpMkLst>
            <pc:docMk/>
            <pc:sldMk cId="2490606410" sldId="2146846429"/>
            <ac:grpSpMk id="25" creationId="{65B3D45F-509E-43F3-B685-A5E78AD0D820}"/>
          </ac:grpSpMkLst>
        </pc:grpChg>
        <pc:cxnChg chg="del">
          <ac:chgData name="Md Fahim Hasan" userId="92968fce-d4dd-4b9e-8635-66a07c9f98a7" providerId="ADAL" clId="{3A6F4128-6482-4C75-8C7D-220A75826C22}" dt="2023-07-24T17:50:09.042" v="16188"/>
          <ac:cxnSpMkLst>
            <pc:docMk/>
            <pc:sldMk cId="2490606410" sldId="2146846429"/>
            <ac:cxnSpMk id="21" creationId="{61F6FBC1-6409-4059-B87B-1BE513242FE6}"/>
          </ac:cxnSpMkLst>
        </pc:cxnChg>
        <pc:cxnChg chg="del">
          <ac:chgData name="Md Fahim Hasan" userId="92968fce-d4dd-4b9e-8635-66a07c9f98a7" providerId="ADAL" clId="{3A6F4128-6482-4C75-8C7D-220A75826C22}" dt="2023-07-24T17:50:09.042" v="16188"/>
          <ac:cxnSpMkLst>
            <pc:docMk/>
            <pc:sldMk cId="2490606410" sldId="2146846429"/>
            <ac:cxnSpMk id="23" creationId="{E6A98E26-C7DC-48E3-8F50-FBF7F3C50F4C}"/>
          </ac:cxnSpMkLst>
        </pc:cxnChg>
      </pc:sldChg>
      <pc:sldChg chg="addSp delSp modSp add mod setBg delDesignElem">
        <pc:chgData name="Md Fahim Hasan" userId="92968fce-d4dd-4b9e-8635-66a07c9f98a7" providerId="ADAL" clId="{3A6F4128-6482-4C75-8C7D-220A75826C22}" dt="2023-07-27T20:44:57.253" v="38132" actId="1076"/>
        <pc:sldMkLst>
          <pc:docMk/>
          <pc:sldMk cId="4234255154" sldId="2146846429"/>
        </pc:sldMkLst>
        <pc:spChg chg="mod">
          <ac:chgData name="Md Fahim Hasan" userId="92968fce-d4dd-4b9e-8635-66a07c9f98a7" providerId="ADAL" clId="{3A6F4128-6482-4C75-8C7D-220A75826C22}" dt="2023-07-27T15:51:58.279" v="35706"/>
          <ac:spMkLst>
            <pc:docMk/>
            <pc:sldMk cId="4234255154" sldId="2146846429"/>
            <ac:spMk id="2" creationId="{0B89BDD2-F5DB-123F-BC6B-2CA2B8A70DAF}"/>
          </ac:spMkLst>
        </pc:spChg>
        <pc:spChg chg="add del mod">
          <ac:chgData name="Md Fahim Hasan" userId="92968fce-d4dd-4b9e-8635-66a07c9f98a7" providerId="ADAL" clId="{3A6F4128-6482-4C75-8C7D-220A75826C22}" dt="2023-07-27T15:54:41.029" v="35725" actId="478"/>
          <ac:spMkLst>
            <pc:docMk/>
            <pc:sldMk cId="4234255154" sldId="2146846429"/>
            <ac:spMk id="3" creationId="{91769226-5F5F-AEE2-7343-9AE32B960481}"/>
          </ac:spMkLst>
        </pc:spChg>
        <pc:spChg chg="mod">
          <ac:chgData name="Md Fahim Hasan" userId="92968fce-d4dd-4b9e-8635-66a07c9f98a7" providerId="ADAL" clId="{3A6F4128-6482-4C75-8C7D-220A75826C22}" dt="2023-07-27T20:44:57.253" v="38132" actId="1076"/>
          <ac:spMkLst>
            <pc:docMk/>
            <pc:sldMk cId="4234255154" sldId="2146846429"/>
            <ac:spMk id="9" creationId="{DCE765C9-F866-A10C-05BC-B0F5CF7D4FA9}"/>
          </ac:spMkLst>
        </pc:spChg>
        <pc:spChg chg="del">
          <ac:chgData name="Md Fahim Hasan" userId="92968fce-d4dd-4b9e-8635-66a07c9f98a7" providerId="ADAL" clId="{3A6F4128-6482-4C75-8C7D-220A75826C22}" dt="2023-07-24T17:52:07.969" v="16203"/>
          <ac:spMkLst>
            <pc:docMk/>
            <pc:sldMk cId="4234255154" sldId="2146846429"/>
            <ac:spMk id="18" creationId="{35F60170-91B4-45F0-B88B-9C07AEC4642C}"/>
          </ac:spMkLst>
        </pc:spChg>
        <pc:spChg chg="del">
          <ac:chgData name="Md Fahim Hasan" userId="92968fce-d4dd-4b9e-8635-66a07c9f98a7" providerId="ADAL" clId="{3A6F4128-6482-4C75-8C7D-220A75826C22}" dt="2023-07-24T17:52:07.969" v="16203"/>
          <ac:spMkLst>
            <pc:docMk/>
            <pc:sldMk cId="4234255154" sldId="2146846429"/>
            <ac:spMk id="19" creationId="{2C7D7C94-41C0-4614-8A18-941174D4D2AF}"/>
          </ac:spMkLst>
        </pc:spChg>
        <pc:grpChg chg="del">
          <ac:chgData name="Md Fahim Hasan" userId="92968fce-d4dd-4b9e-8635-66a07c9f98a7" providerId="ADAL" clId="{3A6F4128-6482-4C75-8C7D-220A75826C22}" dt="2023-07-24T17:52:07.969" v="16203"/>
          <ac:grpSpMkLst>
            <pc:docMk/>
            <pc:sldMk cId="4234255154" sldId="2146846429"/>
            <ac:grpSpMk id="25" creationId="{65B3D45F-509E-43F3-B685-A5E78AD0D820}"/>
          </ac:grpSpMkLst>
        </pc:grpChg>
        <pc:picChg chg="add del mod ord">
          <ac:chgData name="Md Fahim Hasan" userId="92968fce-d4dd-4b9e-8635-66a07c9f98a7" providerId="ADAL" clId="{3A6F4128-6482-4C75-8C7D-220A75826C22}" dt="2023-07-27T15:54:40.134" v="35724" actId="478"/>
          <ac:picMkLst>
            <pc:docMk/>
            <pc:sldMk cId="4234255154" sldId="2146846429"/>
            <ac:picMk id="15" creationId="{B0F7B2C1-02FD-AB52-1E28-5A1C0EE1123A}"/>
          </ac:picMkLst>
        </pc:picChg>
        <pc:cxnChg chg="add mod">
          <ac:chgData name="Md Fahim Hasan" userId="92968fce-d4dd-4b9e-8635-66a07c9f98a7" providerId="ADAL" clId="{3A6F4128-6482-4C75-8C7D-220A75826C22}" dt="2023-07-24T17:55:00.519" v="16224" actId="692"/>
          <ac:cxnSpMkLst>
            <pc:docMk/>
            <pc:sldMk cId="4234255154" sldId="2146846429"/>
            <ac:cxnSpMk id="5" creationId="{7626C8EE-8744-DAF9-3469-888CF3D8D275}"/>
          </ac:cxnSpMkLst>
        </pc:cxnChg>
        <pc:cxnChg chg="del">
          <ac:chgData name="Md Fahim Hasan" userId="92968fce-d4dd-4b9e-8635-66a07c9f98a7" providerId="ADAL" clId="{3A6F4128-6482-4C75-8C7D-220A75826C22}" dt="2023-07-24T17:52:07.969" v="16203"/>
          <ac:cxnSpMkLst>
            <pc:docMk/>
            <pc:sldMk cId="4234255154" sldId="2146846429"/>
            <ac:cxnSpMk id="21" creationId="{61F6FBC1-6409-4059-B87B-1BE513242FE6}"/>
          </ac:cxnSpMkLst>
        </pc:cxnChg>
        <pc:cxnChg chg="del">
          <ac:chgData name="Md Fahim Hasan" userId="92968fce-d4dd-4b9e-8635-66a07c9f98a7" providerId="ADAL" clId="{3A6F4128-6482-4C75-8C7D-220A75826C22}" dt="2023-07-24T17:52:07.969" v="16203"/>
          <ac:cxnSpMkLst>
            <pc:docMk/>
            <pc:sldMk cId="4234255154" sldId="2146846429"/>
            <ac:cxnSpMk id="23" creationId="{E6A98E26-C7DC-48E3-8F50-FBF7F3C50F4C}"/>
          </ac:cxnSpMkLst>
        </pc:cxnChg>
      </pc:sldChg>
      <pc:sldChg chg="addSp delSp modSp add mod delAnim modAnim modNotesTx">
        <pc:chgData name="Md Fahim Hasan" userId="92968fce-d4dd-4b9e-8635-66a07c9f98a7" providerId="ADAL" clId="{3A6F4128-6482-4C75-8C7D-220A75826C22}" dt="2023-08-01T16:32:09.940" v="40872" actId="20577"/>
        <pc:sldMkLst>
          <pc:docMk/>
          <pc:sldMk cId="2909473707" sldId="2146846430"/>
        </pc:sldMkLst>
        <pc:spChg chg="mod">
          <ac:chgData name="Md Fahim Hasan" userId="92968fce-d4dd-4b9e-8635-66a07c9f98a7" providerId="ADAL" clId="{3A6F4128-6482-4C75-8C7D-220A75826C22}" dt="2023-07-27T15:51:58.279" v="35706"/>
          <ac:spMkLst>
            <pc:docMk/>
            <pc:sldMk cId="2909473707" sldId="2146846430"/>
            <ac:spMk id="2" creationId="{01022AA2-4ED6-33F1-DCC7-83E7BA387B4B}"/>
          </ac:spMkLst>
        </pc:spChg>
        <pc:spChg chg="del">
          <ac:chgData name="Md Fahim Hasan" userId="92968fce-d4dd-4b9e-8635-66a07c9f98a7" providerId="ADAL" clId="{3A6F4128-6482-4C75-8C7D-220A75826C22}" dt="2023-07-25T18:50:27.993" v="19144" actId="478"/>
          <ac:spMkLst>
            <pc:docMk/>
            <pc:sldMk cId="2909473707" sldId="2146846430"/>
            <ac:spMk id="3" creationId="{76C83492-675C-BDF8-08D6-D05F59107492}"/>
          </ac:spMkLst>
        </pc:spChg>
        <pc:spChg chg="add mod">
          <ac:chgData name="Md Fahim Hasan" userId="92968fce-d4dd-4b9e-8635-66a07c9f98a7" providerId="ADAL" clId="{3A6F4128-6482-4C75-8C7D-220A75826C22}" dt="2023-08-01T15:11:34.344" v="40813" actId="14100"/>
          <ac:spMkLst>
            <pc:docMk/>
            <pc:sldMk cId="2909473707" sldId="2146846430"/>
            <ac:spMk id="3" creationId="{F85CE8A7-A3C4-8714-8E34-FC0984E2782A}"/>
          </ac:spMkLst>
        </pc:spChg>
        <pc:spChg chg="del">
          <ac:chgData name="Md Fahim Hasan" userId="92968fce-d4dd-4b9e-8635-66a07c9f98a7" providerId="ADAL" clId="{3A6F4128-6482-4C75-8C7D-220A75826C22}" dt="2023-07-25T18:50:30.141" v="19146" actId="478"/>
          <ac:spMkLst>
            <pc:docMk/>
            <pc:sldMk cId="2909473707" sldId="2146846430"/>
            <ac:spMk id="6" creationId="{CDFE7E05-6304-E9E3-446A-5B56956DD37A}"/>
          </ac:spMkLst>
        </pc:spChg>
        <pc:spChg chg="add mod">
          <ac:chgData name="Md Fahim Hasan" userId="92968fce-d4dd-4b9e-8635-66a07c9f98a7" providerId="ADAL" clId="{3A6F4128-6482-4C75-8C7D-220A75826C22}" dt="2023-07-28T17:55:31.047" v="39195" actId="1035"/>
          <ac:spMkLst>
            <pc:docMk/>
            <pc:sldMk cId="2909473707" sldId="2146846430"/>
            <ac:spMk id="6" creationId="{FCAC62EA-8A81-EE11-10F3-39C2B2E65E1E}"/>
          </ac:spMkLst>
        </pc:spChg>
        <pc:spChg chg="add mod">
          <ac:chgData name="Md Fahim Hasan" userId="92968fce-d4dd-4b9e-8635-66a07c9f98a7" providerId="ADAL" clId="{3A6F4128-6482-4C75-8C7D-220A75826C22}" dt="2023-07-28T17:49:19.982" v="39088" actId="1076"/>
          <ac:spMkLst>
            <pc:docMk/>
            <pc:sldMk cId="2909473707" sldId="2146846430"/>
            <ac:spMk id="7" creationId="{F6EAD1EE-7BCC-F32D-900D-A3EA1DD52B04}"/>
          </ac:spMkLst>
        </pc:spChg>
        <pc:spChg chg="add mod">
          <ac:chgData name="Md Fahim Hasan" userId="92968fce-d4dd-4b9e-8635-66a07c9f98a7" providerId="ADAL" clId="{3A6F4128-6482-4C75-8C7D-220A75826C22}" dt="2023-07-28T17:55:31.047" v="39195" actId="1035"/>
          <ac:spMkLst>
            <pc:docMk/>
            <pc:sldMk cId="2909473707" sldId="2146846430"/>
            <ac:spMk id="8" creationId="{DF929442-23E2-832B-07C5-CFA9F0D8C74C}"/>
          </ac:spMkLst>
        </pc:spChg>
        <pc:spChg chg="mod">
          <ac:chgData name="Md Fahim Hasan" userId="92968fce-d4dd-4b9e-8635-66a07c9f98a7" providerId="ADAL" clId="{3A6F4128-6482-4C75-8C7D-220A75826C22}" dt="2023-07-25T18:50:21.230" v="19142" actId="20577"/>
          <ac:spMkLst>
            <pc:docMk/>
            <pc:sldMk cId="2909473707" sldId="2146846430"/>
            <ac:spMk id="9" creationId="{DCE765C9-F866-A10C-05BC-B0F5CF7D4FA9}"/>
          </ac:spMkLst>
        </pc:spChg>
        <pc:spChg chg="del">
          <ac:chgData name="Md Fahim Hasan" userId="92968fce-d4dd-4b9e-8635-66a07c9f98a7" providerId="ADAL" clId="{3A6F4128-6482-4C75-8C7D-220A75826C22}" dt="2023-07-25T18:50:26.157" v="19143" actId="478"/>
          <ac:spMkLst>
            <pc:docMk/>
            <pc:sldMk cId="2909473707" sldId="2146846430"/>
            <ac:spMk id="10" creationId="{0493CA3C-A4A5-7D4C-211C-75EC0115E151}"/>
          </ac:spMkLst>
        </pc:spChg>
        <pc:spChg chg="add mod">
          <ac:chgData name="Md Fahim Hasan" userId="92968fce-d4dd-4b9e-8635-66a07c9f98a7" providerId="ADAL" clId="{3A6F4128-6482-4C75-8C7D-220A75826C22}" dt="2023-07-28T17:55:31.047" v="39195" actId="1035"/>
          <ac:spMkLst>
            <pc:docMk/>
            <pc:sldMk cId="2909473707" sldId="2146846430"/>
            <ac:spMk id="10" creationId="{06DC33EA-80CC-17B8-8CC3-A0A0E08E06B1}"/>
          </ac:spMkLst>
        </pc:spChg>
        <pc:spChg chg="add mod">
          <ac:chgData name="Md Fahim Hasan" userId="92968fce-d4dd-4b9e-8635-66a07c9f98a7" providerId="ADAL" clId="{3A6F4128-6482-4C75-8C7D-220A75826C22}" dt="2023-08-01T15:57:05.659" v="40869" actId="164"/>
          <ac:spMkLst>
            <pc:docMk/>
            <pc:sldMk cId="2909473707" sldId="2146846430"/>
            <ac:spMk id="11" creationId="{F3BD8B50-89E8-30EA-F089-17199C3C25DF}"/>
          </ac:spMkLst>
        </pc:spChg>
        <pc:spChg chg="add mod">
          <ac:chgData name="Md Fahim Hasan" userId="92968fce-d4dd-4b9e-8635-66a07c9f98a7" providerId="ADAL" clId="{3A6F4128-6482-4C75-8C7D-220A75826C22}" dt="2023-08-01T15:57:05.659" v="40869" actId="164"/>
          <ac:spMkLst>
            <pc:docMk/>
            <pc:sldMk cId="2909473707" sldId="2146846430"/>
            <ac:spMk id="12" creationId="{56862562-053A-7063-61EC-18CC60ECE0AF}"/>
          </ac:spMkLst>
        </pc:spChg>
        <pc:spChg chg="add mod">
          <ac:chgData name="Md Fahim Hasan" userId="92968fce-d4dd-4b9e-8635-66a07c9f98a7" providerId="ADAL" clId="{3A6F4128-6482-4C75-8C7D-220A75826C22}" dt="2023-07-28T18:09:32.388" v="39260" actId="1076"/>
          <ac:spMkLst>
            <pc:docMk/>
            <pc:sldMk cId="2909473707" sldId="2146846430"/>
            <ac:spMk id="13" creationId="{1B27D0BC-C32A-050B-3A51-2822116A2D94}"/>
          </ac:spMkLst>
        </pc:spChg>
        <pc:spChg chg="add mod">
          <ac:chgData name="Md Fahim Hasan" userId="92968fce-d4dd-4b9e-8635-66a07c9f98a7" providerId="ADAL" clId="{3A6F4128-6482-4C75-8C7D-220A75826C22}" dt="2023-08-01T15:57:05.659" v="40869" actId="164"/>
          <ac:spMkLst>
            <pc:docMk/>
            <pc:sldMk cId="2909473707" sldId="2146846430"/>
            <ac:spMk id="21" creationId="{780C03C1-1CC4-C16E-449A-6334E392026A}"/>
          </ac:spMkLst>
        </pc:spChg>
        <pc:spChg chg="del">
          <ac:chgData name="Md Fahim Hasan" userId="92968fce-d4dd-4b9e-8635-66a07c9f98a7" providerId="ADAL" clId="{3A6F4128-6482-4C75-8C7D-220A75826C22}" dt="2023-07-25T18:50:26.157" v="19143" actId="478"/>
          <ac:spMkLst>
            <pc:docMk/>
            <pc:sldMk cId="2909473707" sldId="2146846430"/>
            <ac:spMk id="21" creationId="{8BBD99BD-72B6-B1F3-A76A-4FE9DD5EA5DC}"/>
          </ac:spMkLst>
        </pc:spChg>
        <pc:spChg chg="add mod ord">
          <ac:chgData name="Md Fahim Hasan" userId="92968fce-d4dd-4b9e-8635-66a07c9f98a7" providerId="ADAL" clId="{3A6F4128-6482-4C75-8C7D-220A75826C22}" dt="2023-08-01T15:57:05.659" v="40869" actId="164"/>
          <ac:spMkLst>
            <pc:docMk/>
            <pc:sldMk cId="2909473707" sldId="2146846430"/>
            <ac:spMk id="22" creationId="{AB688B3E-422A-7B07-08A6-658165A7B4B3}"/>
          </ac:spMkLst>
        </pc:spChg>
        <pc:grpChg chg="del">
          <ac:chgData name="Md Fahim Hasan" userId="92968fce-d4dd-4b9e-8635-66a07c9f98a7" providerId="ADAL" clId="{3A6F4128-6482-4C75-8C7D-220A75826C22}" dt="2023-07-25T18:50:28.672" v="19145" actId="478"/>
          <ac:grpSpMkLst>
            <pc:docMk/>
            <pc:sldMk cId="2909473707" sldId="2146846430"/>
            <ac:grpSpMk id="17" creationId="{64FBD80A-68D5-FAA2-CDB2-774F6A09765B}"/>
          </ac:grpSpMkLst>
        </pc:grpChg>
        <pc:grpChg chg="add mod">
          <ac:chgData name="Md Fahim Hasan" userId="92968fce-d4dd-4b9e-8635-66a07c9f98a7" providerId="ADAL" clId="{3A6F4128-6482-4C75-8C7D-220A75826C22}" dt="2023-08-01T15:55:51.987" v="40852" actId="164"/>
          <ac:grpSpMkLst>
            <pc:docMk/>
            <pc:sldMk cId="2909473707" sldId="2146846430"/>
            <ac:grpSpMk id="23" creationId="{FA920256-193B-42A6-2F56-896F2985C77A}"/>
          </ac:grpSpMkLst>
        </pc:grpChg>
        <pc:grpChg chg="add mod">
          <ac:chgData name="Md Fahim Hasan" userId="92968fce-d4dd-4b9e-8635-66a07c9f98a7" providerId="ADAL" clId="{3A6F4128-6482-4C75-8C7D-220A75826C22}" dt="2023-08-01T15:56:56.006" v="40868" actId="164"/>
          <ac:grpSpMkLst>
            <pc:docMk/>
            <pc:sldMk cId="2909473707" sldId="2146846430"/>
            <ac:grpSpMk id="24" creationId="{04E169ED-88F2-880B-D10C-EB72A2AE28BF}"/>
          </ac:grpSpMkLst>
        </pc:grpChg>
        <pc:grpChg chg="add mod ord">
          <ac:chgData name="Md Fahim Hasan" userId="92968fce-d4dd-4b9e-8635-66a07c9f98a7" providerId="ADAL" clId="{3A6F4128-6482-4C75-8C7D-220A75826C22}" dt="2023-08-01T15:57:18.890" v="40871" actId="171"/>
          <ac:grpSpMkLst>
            <pc:docMk/>
            <pc:sldMk cId="2909473707" sldId="2146846430"/>
            <ac:grpSpMk id="25" creationId="{D0030FB9-9D09-1A5B-4C95-458D9470CEDA}"/>
          </ac:grpSpMkLst>
        </pc:grpChg>
        <pc:graphicFrameChg chg="add mod modGraphic">
          <ac:chgData name="Md Fahim Hasan" userId="92968fce-d4dd-4b9e-8635-66a07c9f98a7" providerId="ADAL" clId="{3A6F4128-6482-4C75-8C7D-220A75826C22}" dt="2023-07-28T17:55:31.047" v="39195" actId="1035"/>
          <ac:graphicFrameMkLst>
            <pc:docMk/>
            <pc:sldMk cId="2909473707" sldId="2146846430"/>
            <ac:graphicFrameMk id="4" creationId="{53C504F3-4F33-42DC-8E5D-BAF1733E2B0A}"/>
          </ac:graphicFrameMkLst>
        </pc:graphicFrameChg>
        <pc:picChg chg="del">
          <ac:chgData name="Md Fahim Hasan" userId="92968fce-d4dd-4b9e-8635-66a07c9f98a7" providerId="ADAL" clId="{3A6F4128-6482-4C75-8C7D-220A75826C22}" dt="2023-07-25T18:50:26.157" v="19143" actId="478"/>
          <ac:picMkLst>
            <pc:docMk/>
            <pc:sldMk cId="2909473707" sldId="2146846430"/>
            <ac:picMk id="12" creationId="{90ABC447-2E42-0759-A4D9-C6C53471FABF}"/>
          </ac:picMkLst>
        </pc:picChg>
        <pc:picChg chg="add mod ord">
          <ac:chgData name="Md Fahim Hasan" userId="92968fce-d4dd-4b9e-8635-66a07c9f98a7" providerId="ADAL" clId="{3A6F4128-6482-4C75-8C7D-220A75826C22}" dt="2023-08-01T15:57:15.350" v="40870" actId="167"/>
          <ac:picMkLst>
            <pc:docMk/>
            <pc:sldMk cId="2909473707" sldId="2146846430"/>
            <ac:picMk id="15" creationId="{A768B25F-3903-E414-8D0E-31B9749194D2}"/>
          </ac:picMkLst>
        </pc:picChg>
        <pc:cxnChg chg="del">
          <ac:chgData name="Md Fahim Hasan" userId="92968fce-d4dd-4b9e-8635-66a07c9f98a7" providerId="ADAL" clId="{3A6F4128-6482-4C75-8C7D-220A75826C22}" dt="2023-07-25T18:50:31.116" v="19147" actId="478"/>
          <ac:cxnSpMkLst>
            <pc:docMk/>
            <pc:sldMk cId="2909473707" sldId="2146846430"/>
            <ac:cxnSpMk id="5" creationId="{574A5DFC-E7EF-DEE4-7465-FB1BC7318588}"/>
          </ac:cxnSpMkLst>
        </pc:cxnChg>
        <pc:cxnChg chg="add mod">
          <ac:chgData name="Md Fahim Hasan" userId="92968fce-d4dd-4b9e-8635-66a07c9f98a7" providerId="ADAL" clId="{3A6F4128-6482-4C75-8C7D-220A75826C22}" dt="2023-07-28T17:55:31.047" v="39195" actId="1035"/>
          <ac:cxnSpMkLst>
            <pc:docMk/>
            <pc:sldMk cId="2909473707" sldId="2146846430"/>
            <ac:cxnSpMk id="5" creationId="{DAB66E9A-2F8A-176A-5927-5B66B3A0DCCE}"/>
          </ac:cxnSpMkLst>
        </pc:cxnChg>
        <pc:cxnChg chg="add mod">
          <ac:chgData name="Md Fahim Hasan" userId="92968fce-d4dd-4b9e-8635-66a07c9f98a7" providerId="ADAL" clId="{3A6F4128-6482-4C75-8C7D-220A75826C22}" dt="2023-08-01T15:57:05.659" v="40869" actId="164"/>
          <ac:cxnSpMkLst>
            <pc:docMk/>
            <pc:sldMk cId="2909473707" sldId="2146846430"/>
            <ac:cxnSpMk id="14" creationId="{2A516FE2-C2A4-35D8-0629-CF5E9320825B}"/>
          </ac:cxnSpMkLst>
        </pc:cxnChg>
        <pc:cxnChg chg="add mod">
          <ac:chgData name="Md Fahim Hasan" userId="92968fce-d4dd-4b9e-8635-66a07c9f98a7" providerId="ADAL" clId="{3A6F4128-6482-4C75-8C7D-220A75826C22}" dt="2023-08-01T15:57:05.659" v="40869" actId="164"/>
          <ac:cxnSpMkLst>
            <pc:docMk/>
            <pc:sldMk cId="2909473707" sldId="2146846430"/>
            <ac:cxnSpMk id="17" creationId="{48FAFDDF-3795-D4D8-5111-1AA992B7F1CC}"/>
          </ac:cxnSpMkLst>
        </pc:cxnChg>
        <pc:cxnChg chg="add mod">
          <ac:chgData name="Md Fahim Hasan" userId="92968fce-d4dd-4b9e-8635-66a07c9f98a7" providerId="ADAL" clId="{3A6F4128-6482-4C75-8C7D-220A75826C22}" dt="2023-07-28T17:57:50.761" v="39220" actId="13822"/>
          <ac:cxnSpMkLst>
            <pc:docMk/>
            <pc:sldMk cId="2909473707" sldId="2146846430"/>
            <ac:cxnSpMk id="19" creationId="{FAE4D339-4943-B0AD-4549-6AC9D471558B}"/>
          </ac:cxnSpMkLst>
        </pc:cxnChg>
      </pc:sldChg>
      <pc:sldChg chg="addSp delSp modSp add mod delAnim">
        <pc:chgData name="Md Fahim Hasan" userId="92968fce-d4dd-4b9e-8635-66a07c9f98a7" providerId="ADAL" clId="{3A6F4128-6482-4C75-8C7D-220A75826C22}" dt="2023-07-27T15:51:58.279" v="35706"/>
        <pc:sldMkLst>
          <pc:docMk/>
          <pc:sldMk cId="1341090871" sldId="2146846431"/>
        </pc:sldMkLst>
        <pc:spChg chg="mod">
          <ac:chgData name="Md Fahim Hasan" userId="92968fce-d4dd-4b9e-8635-66a07c9f98a7" providerId="ADAL" clId="{3A6F4128-6482-4C75-8C7D-220A75826C22}" dt="2023-07-27T15:51:58.279" v="35706"/>
          <ac:spMkLst>
            <pc:docMk/>
            <pc:sldMk cId="1341090871" sldId="2146846431"/>
            <ac:spMk id="2" creationId="{D6F33AD6-BCD0-7BD2-5890-1C682DC785B4}"/>
          </ac:spMkLst>
        </pc:spChg>
        <pc:spChg chg="add mod">
          <ac:chgData name="Md Fahim Hasan" userId="92968fce-d4dd-4b9e-8635-66a07c9f98a7" providerId="ADAL" clId="{3A6F4128-6482-4C75-8C7D-220A75826C22}" dt="2023-07-26T22:11:51.063" v="30806"/>
          <ac:spMkLst>
            <pc:docMk/>
            <pc:sldMk cId="1341090871" sldId="2146846431"/>
            <ac:spMk id="3" creationId="{5F7FACEC-2C6D-D3DC-7CE3-9725CEF51CBD}"/>
          </ac:spMkLst>
        </pc:spChg>
        <pc:spChg chg="mod">
          <ac:chgData name="Md Fahim Hasan" userId="92968fce-d4dd-4b9e-8635-66a07c9f98a7" providerId="ADAL" clId="{3A6F4128-6482-4C75-8C7D-220A75826C22}" dt="2023-07-25T20:21:17.532" v="20407" actId="20577"/>
          <ac:spMkLst>
            <pc:docMk/>
            <pc:sldMk cId="1341090871" sldId="2146846431"/>
            <ac:spMk id="5" creationId="{BC1754F1-682A-BE94-E0A0-10CA6FA4AE0D}"/>
          </ac:spMkLst>
        </pc:spChg>
        <pc:spChg chg="mod">
          <ac:chgData name="Md Fahim Hasan" userId="92968fce-d4dd-4b9e-8635-66a07c9f98a7" providerId="ADAL" clId="{3A6F4128-6482-4C75-8C7D-220A75826C22}" dt="2023-07-25T20:21:07.293" v="20396" actId="20577"/>
          <ac:spMkLst>
            <pc:docMk/>
            <pc:sldMk cId="1341090871" sldId="2146846431"/>
            <ac:spMk id="9" creationId="{DCE765C9-F866-A10C-05BC-B0F5CF7D4FA9}"/>
          </ac:spMkLst>
        </pc:spChg>
        <pc:spChg chg="add mod">
          <ac:chgData name="Md Fahim Hasan" userId="92968fce-d4dd-4b9e-8635-66a07c9f98a7" providerId="ADAL" clId="{3A6F4128-6482-4C75-8C7D-220A75826C22}" dt="2023-07-26T22:11:51.063" v="30806"/>
          <ac:spMkLst>
            <pc:docMk/>
            <pc:sldMk cId="1341090871" sldId="2146846431"/>
            <ac:spMk id="10" creationId="{807632C2-D134-EB7B-7CE3-0A7B09307782}"/>
          </ac:spMkLst>
        </pc:spChg>
        <pc:spChg chg="del">
          <ac:chgData name="Md Fahim Hasan" userId="92968fce-d4dd-4b9e-8635-66a07c9f98a7" providerId="ADAL" clId="{3A6F4128-6482-4C75-8C7D-220A75826C22}" dt="2023-07-26T22:11:50.030" v="30805" actId="478"/>
          <ac:spMkLst>
            <pc:docMk/>
            <pc:sldMk cId="1341090871" sldId="2146846431"/>
            <ac:spMk id="11" creationId="{34104EF3-AE2A-10CD-807A-5E8D98642890}"/>
          </ac:spMkLst>
        </pc:spChg>
        <pc:spChg chg="del">
          <ac:chgData name="Md Fahim Hasan" userId="92968fce-d4dd-4b9e-8635-66a07c9f98a7" providerId="ADAL" clId="{3A6F4128-6482-4C75-8C7D-220A75826C22}" dt="2023-07-26T22:11:50.030" v="30805" actId="478"/>
          <ac:spMkLst>
            <pc:docMk/>
            <pc:sldMk cId="1341090871" sldId="2146846431"/>
            <ac:spMk id="12" creationId="{563AE502-BE2B-F7DC-8070-3C524C7FC52F}"/>
          </ac:spMkLst>
        </pc:spChg>
        <pc:spChg chg="add mod">
          <ac:chgData name="Md Fahim Hasan" userId="92968fce-d4dd-4b9e-8635-66a07c9f98a7" providerId="ADAL" clId="{3A6F4128-6482-4C75-8C7D-220A75826C22}" dt="2023-07-26T22:12:04.856" v="30808" actId="1076"/>
          <ac:spMkLst>
            <pc:docMk/>
            <pc:sldMk cId="1341090871" sldId="2146846431"/>
            <ac:spMk id="13" creationId="{13351FEE-D1E1-907D-1976-25C38EF128B7}"/>
          </ac:spMkLst>
        </pc:spChg>
        <pc:spChg chg="add mod">
          <ac:chgData name="Md Fahim Hasan" userId="92968fce-d4dd-4b9e-8635-66a07c9f98a7" providerId="ADAL" clId="{3A6F4128-6482-4C75-8C7D-220A75826C22}" dt="2023-07-26T22:12:04.856" v="30808" actId="1076"/>
          <ac:spMkLst>
            <pc:docMk/>
            <pc:sldMk cId="1341090871" sldId="2146846431"/>
            <ac:spMk id="14" creationId="{4EC5EB06-36D2-6658-1316-98146D19F721}"/>
          </ac:spMkLst>
        </pc:spChg>
        <pc:spChg chg="del">
          <ac:chgData name="Md Fahim Hasan" userId="92968fce-d4dd-4b9e-8635-66a07c9f98a7" providerId="ADAL" clId="{3A6F4128-6482-4C75-8C7D-220A75826C22}" dt="2023-07-26T22:11:50.030" v="30805" actId="478"/>
          <ac:spMkLst>
            <pc:docMk/>
            <pc:sldMk cId="1341090871" sldId="2146846431"/>
            <ac:spMk id="15" creationId="{A831B13C-8409-F4FA-2FD1-7B0D4DD54039}"/>
          </ac:spMkLst>
        </pc:spChg>
        <pc:spChg chg="del">
          <ac:chgData name="Md Fahim Hasan" userId="92968fce-d4dd-4b9e-8635-66a07c9f98a7" providerId="ADAL" clId="{3A6F4128-6482-4C75-8C7D-220A75826C22}" dt="2023-07-26T22:11:50.030" v="30805" actId="478"/>
          <ac:spMkLst>
            <pc:docMk/>
            <pc:sldMk cId="1341090871" sldId="2146846431"/>
            <ac:spMk id="16" creationId="{74FA2828-4265-79AB-6956-60772E0CBF25}"/>
          </ac:spMkLst>
        </pc:spChg>
        <pc:picChg chg="mod">
          <ac:chgData name="Md Fahim Hasan" userId="92968fce-d4dd-4b9e-8635-66a07c9f98a7" providerId="ADAL" clId="{3A6F4128-6482-4C75-8C7D-220A75826C22}" dt="2023-07-26T23:47:32.317" v="30956" actId="14826"/>
          <ac:picMkLst>
            <pc:docMk/>
            <pc:sldMk cId="1341090871" sldId="2146846431"/>
            <ac:picMk id="4" creationId="{1B7C3091-DEA4-66D1-884C-6CB2FD58DBE7}"/>
          </ac:picMkLst>
        </pc:picChg>
        <pc:picChg chg="mod">
          <ac:chgData name="Md Fahim Hasan" userId="92968fce-d4dd-4b9e-8635-66a07c9f98a7" providerId="ADAL" clId="{3A6F4128-6482-4C75-8C7D-220A75826C22}" dt="2023-07-26T23:48:19.351" v="30957" actId="14826"/>
          <ac:picMkLst>
            <pc:docMk/>
            <pc:sldMk cId="1341090871" sldId="2146846431"/>
            <ac:picMk id="6" creationId="{5E2191B3-98E6-B694-F261-D599E1961C3A}"/>
          </ac:picMkLst>
        </pc:picChg>
        <pc:picChg chg="mod">
          <ac:chgData name="Md Fahim Hasan" userId="92968fce-d4dd-4b9e-8635-66a07c9f98a7" providerId="ADAL" clId="{3A6F4128-6482-4C75-8C7D-220A75826C22}" dt="2023-07-26T23:46:38.879" v="30954" actId="14826"/>
          <ac:picMkLst>
            <pc:docMk/>
            <pc:sldMk cId="1341090871" sldId="2146846431"/>
            <ac:picMk id="7" creationId="{B5713B37-2314-473A-D0AE-587C49D1AB77}"/>
          </ac:picMkLst>
        </pc:picChg>
        <pc:picChg chg="mod">
          <ac:chgData name="Md Fahim Hasan" userId="92968fce-d4dd-4b9e-8635-66a07c9f98a7" providerId="ADAL" clId="{3A6F4128-6482-4C75-8C7D-220A75826C22}" dt="2023-07-26T23:48:25.560" v="30958" actId="14826"/>
          <ac:picMkLst>
            <pc:docMk/>
            <pc:sldMk cId="1341090871" sldId="2146846431"/>
            <ac:picMk id="8" creationId="{B9E0931F-AF13-AB52-802B-BAF25FB5B5C6}"/>
          </ac:picMkLst>
        </pc:picChg>
      </pc:sldChg>
      <pc:sldChg chg="addSp delSp modSp add mod ord delAnim modAnim">
        <pc:chgData name="Md Fahim Hasan" userId="92968fce-d4dd-4b9e-8635-66a07c9f98a7" providerId="ADAL" clId="{3A6F4128-6482-4C75-8C7D-220A75826C22}" dt="2023-07-28T17:35:59.382" v="39060"/>
        <pc:sldMkLst>
          <pc:docMk/>
          <pc:sldMk cId="4249585210" sldId="2146846432"/>
        </pc:sldMkLst>
        <pc:spChg chg="mod">
          <ac:chgData name="Md Fahim Hasan" userId="92968fce-d4dd-4b9e-8635-66a07c9f98a7" providerId="ADAL" clId="{3A6F4128-6482-4C75-8C7D-220A75826C22}" dt="2023-07-27T15:51:58.279" v="35706"/>
          <ac:spMkLst>
            <pc:docMk/>
            <pc:sldMk cId="4249585210" sldId="2146846432"/>
            <ac:spMk id="2" creationId="{D6F33AD6-BCD0-7BD2-5890-1C682DC785B4}"/>
          </ac:spMkLst>
        </pc:spChg>
        <pc:spChg chg="add del mod">
          <ac:chgData name="Md Fahim Hasan" userId="92968fce-d4dd-4b9e-8635-66a07c9f98a7" providerId="ADAL" clId="{3A6F4128-6482-4C75-8C7D-220A75826C22}" dt="2023-07-26T20:50:39.575" v="28847"/>
          <ac:spMkLst>
            <pc:docMk/>
            <pc:sldMk cId="4249585210" sldId="2146846432"/>
            <ac:spMk id="3" creationId="{965F5781-A4EA-65D6-253C-0DD92AA96FC4}"/>
          </ac:spMkLst>
        </pc:spChg>
        <pc:spChg chg="mod">
          <ac:chgData name="Md Fahim Hasan" userId="92968fce-d4dd-4b9e-8635-66a07c9f98a7" providerId="ADAL" clId="{3A6F4128-6482-4C75-8C7D-220A75826C22}" dt="2023-07-25T20:22:58.997" v="20458" actId="20577"/>
          <ac:spMkLst>
            <pc:docMk/>
            <pc:sldMk cId="4249585210" sldId="2146846432"/>
            <ac:spMk id="5" creationId="{BC1754F1-682A-BE94-E0A0-10CA6FA4AE0D}"/>
          </ac:spMkLst>
        </pc:spChg>
        <pc:spChg chg="mod">
          <ac:chgData name="Md Fahim Hasan" userId="92968fce-d4dd-4b9e-8635-66a07c9f98a7" providerId="ADAL" clId="{3A6F4128-6482-4C75-8C7D-220A75826C22}" dt="2023-07-25T20:22:50.283" v="20439" actId="20577"/>
          <ac:spMkLst>
            <pc:docMk/>
            <pc:sldMk cId="4249585210" sldId="2146846432"/>
            <ac:spMk id="9" creationId="{DCE765C9-F866-A10C-05BC-B0F5CF7D4FA9}"/>
          </ac:spMkLst>
        </pc:spChg>
        <pc:spChg chg="add del mod">
          <ac:chgData name="Md Fahim Hasan" userId="92968fce-d4dd-4b9e-8635-66a07c9f98a7" providerId="ADAL" clId="{3A6F4128-6482-4C75-8C7D-220A75826C22}" dt="2023-07-26T20:50:39.575" v="28847"/>
          <ac:spMkLst>
            <pc:docMk/>
            <pc:sldMk cId="4249585210" sldId="2146846432"/>
            <ac:spMk id="10" creationId="{BBA5DA9D-CD17-9F2F-0216-CBD02DE260AB}"/>
          </ac:spMkLst>
        </pc:spChg>
        <pc:spChg chg="del">
          <ac:chgData name="Md Fahim Hasan" userId="92968fce-d4dd-4b9e-8635-66a07c9f98a7" providerId="ADAL" clId="{3A6F4128-6482-4C75-8C7D-220A75826C22}" dt="2023-07-26T20:50:27.376" v="28843" actId="478"/>
          <ac:spMkLst>
            <pc:docMk/>
            <pc:sldMk cId="4249585210" sldId="2146846432"/>
            <ac:spMk id="11" creationId="{34104EF3-AE2A-10CD-807A-5E8D98642890}"/>
          </ac:spMkLst>
        </pc:spChg>
        <pc:spChg chg="del">
          <ac:chgData name="Md Fahim Hasan" userId="92968fce-d4dd-4b9e-8635-66a07c9f98a7" providerId="ADAL" clId="{3A6F4128-6482-4C75-8C7D-220A75826C22}" dt="2023-07-26T20:50:40.683" v="28848" actId="478"/>
          <ac:spMkLst>
            <pc:docMk/>
            <pc:sldMk cId="4249585210" sldId="2146846432"/>
            <ac:spMk id="12" creationId="{563AE502-BE2B-F7DC-8070-3C524C7FC52F}"/>
          </ac:spMkLst>
        </pc:spChg>
        <pc:spChg chg="add mod">
          <ac:chgData name="Md Fahim Hasan" userId="92968fce-d4dd-4b9e-8635-66a07c9f98a7" providerId="ADAL" clId="{3A6F4128-6482-4C75-8C7D-220A75826C22}" dt="2023-07-26T20:50:41.607" v="28849"/>
          <ac:spMkLst>
            <pc:docMk/>
            <pc:sldMk cId="4249585210" sldId="2146846432"/>
            <ac:spMk id="13" creationId="{038F1632-34AB-40CF-A0B0-8681105383B3}"/>
          </ac:spMkLst>
        </pc:spChg>
        <pc:spChg chg="add mod">
          <ac:chgData name="Md Fahim Hasan" userId="92968fce-d4dd-4b9e-8635-66a07c9f98a7" providerId="ADAL" clId="{3A6F4128-6482-4C75-8C7D-220A75826C22}" dt="2023-07-26T20:50:41.607" v="28849"/>
          <ac:spMkLst>
            <pc:docMk/>
            <pc:sldMk cId="4249585210" sldId="2146846432"/>
            <ac:spMk id="14" creationId="{FD57BB42-3B18-E50B-CD21-93B14CD308B4}"/>
          </ac:spMkLst>
        </pc:spChg>
        <pc:spChg chg="del">
          <ac:chgData name="Md Fahim Hasan" userId="92968fce-d4dd-4b9e-8635-66a07c9f98a7" providerId="ADAL" clId="{3A6F4128-6482-4C75-8C7D-220A75826C22}" dt="2023-07-26T20:50:46.975" v="28850" actId="478"/>
          <ac:spMkLst>
            <pc:docMk/>
            <pc:sldMk cId="4249585210" sldId="2146846432"/>
            <ac:spMk id="15" creationId="{A831B13C-8409-F4FA-2FD1-7B0D4DD54039}"/>
          </ac:spMkLst>
        </pc:spChg>
        <pc:spChg chg="del">
          <ac:chgData name="Md Fahim Hasan" userId="92968fce-d4dd-4b9e-8635-66a07c9f98a7" providerId="ADAL" clId="{3A6F4128-6482-4C75-8C7D-220A75826C22}" dt="2023-07-26T20:50:46.975" v="28850" actId="478"/>
          <ac:spMkLst>
            <pc:docMk/>
            <pc:sldMk cId="4249585210" sldId="2146846432"/>
            <ac:spMk id="16" creationId="{74FA2828-4265-79AB-6956-60772E0CBF25}"/>
          </ac:spMkLst>
        </pc:spChg>
        <pc:spChg chg="add mod">
          <ac:chgData name="Md Fahim Hasan" userId="92968fce-d4dd-4b9e-8635-66a07c9f98a7" providerId="ADAL" clId="{3A6F4128-6482-4C75-8C7D-220A75826C22}" dt="2023-07-26T20:51:17.328" v="28855" actId="1076"/>
          <ac:spMkLst>
            <pc:docMk/>
            <pc:sldMk cId="4249585210" sldId="2146846432"/>
            <ac:spMk id="17" creationId="{3A10F1A5-1B40-27F3-9354-F125F4A01313}"/>
          </ac:spMkLst>
        </pc:spChg>
        <pc:spChg chg="add mod">
          <ac:chgData name="Md Fahim Hasan" userId="92968fce-d4dd-4b9e-8635-66a07c9f98a7" providerId="ADAL" clId="{3A6F4128-6482-4C75-8C7D-220A75826C22}" dt="2023-07-26T20:51:14.495" v="28854" actId="1076"/>
          <ac:spMkLst>
            <pc:docMk/>
            <pc:sldMk cId="4249585210" sldId="2146846432"/>
            <ac:spMk id="18" creationId="{D9B37AFE-AEA7-3084-AE1A-7A1906B7EEC8}"/>
          </ac:spMkLst>
        </pc:spChg>
        <pc:picChg chg="mod">
          <ac:chgData name="Md Fahim Hasan" userId="92968fce-d4dd-4b9e-8635-66a07c9f98a7" providerId="ADAL" clId="{3A6F4128-6482-4C75-8C7D-220A75826C22}" dt="2023-07-26T23:36:19.916" v="30942" actId="14826"/>
          <ac:picMkLst>
            <pc:docMk/>
            <pc:sldMk cId="4249585210" sldId="2146846432"/>
            <ac:picMk id="4" creationId="{1B7C3091-DEA4-66D1-884C-6CB2FD58DBE7}"/>
          </ac:picMkLst>
        </pc:picChg>
        <pc:picChg chg="mod">
          <ac:chgData name="Md Fahim Hasan" userId="92968fce-d4dd-4b9e-8635-66a07c9f98a7" providerId="ADAL" clId="{3A6F4128-6482-4C75-8C7D-220A75826C22}" dt="2023-07-26T20:52:37.364" v="28858" actId="14826"/>
          <ac:picMkLst>
            <pc:docMk/>
            <pc:sldMk cId="4249585210" sldId="2146846432"/>
            <ac:picMk id="6" creationId="{5E2191B3-98E6-B694-F261-D599E1961C3A}"/>
          </ac:picMkLst>
        </pc:picChg>
        <pc:picChg chg="mod">
          <ac:chgData name="Md Fahim Hasan" userId="92968fce-d4dd-4b9e-8635-66a07c9f98a7" providerId="ADAL" clId="{3A6F4128-6482-4C75-8C7D-220A75826C22}" dt="2023-07-26T23:35:27.959" v="30940" actId="14826"/>
          <ac:picMkLst>
            <pc:docMk/>
            <pc:sldMk cId="4249585210" sldId="2146846432"/>
            <ac:picMk id="7" creationId="{B5713B37-2314-473A-D0AE-587C49D1AB77}"/>
          </ac:picMkLst>
        </pc:picChg>
        <pc:picChg chg="mod">
          <ac:chgData name="Md Fahim Hasan" userId="92968fce-d4dd-4b9e-8635-66a07c9f98a7" providerId="ADAL" clId="{3A6F4128-6482-4C75-8C7D-220A75826C22}" dt="2023-07-26T23:37:42.938" v="30944" actId="14826"/>
          <ac:picMkLst>
            <pc:docMk/>
            <pc:sldMk cId="4249585210" sldId="2146846432"/>
            <ac:picMk id="8" creationId="{B9E0931F-AF13-AB52-802B-BAF25FB5B5C6}"/>
          </ac:picMkLst>
        </pc:picChg>
      </pc:sldChg>
      <pc:sldChg chg="modSp add mod setBg">
        <pc:chgData name="Md Fahim Hasan" userId="92968fce-d4dd-4b9e-8635-66a07c9f98a7" providerId="ADAL" clId="{3A6F4128-6482-4C75-8C7D-220A75826C22}" dt="2023-07-28T17:02:38.009" v="38294"/>
        <pc:sldMkLst>
          <pc:docMk/>
          <pc:sldMk cId="167586922" sldId="2146846433"/>
        </pc:sldMkLst>
        <pc:spChg chg="mod">
          <ac:chgData name="Md Fahim Hasan" userId="92968fce-d4dd-4b9e-8635-66a07c9f98a7" providerId="ADAL" clId="{3A6F4128-6482-4C75-8C7D-220A75826C22}" dt="2023-07-28T17:02:30.423" v="38293" actId="20577"/>
          <ac:spMkLst>
            <pc:docMk/>
            <pc:sldMk cId="167586922" sldId="2146846433"/>
            <ac:spMk id="9" creationId="{DCE765C9-F866-A10C-05BC-B0F5CF7D4FA9}"/>
          </ac:spMkLst>
        </pc:spChg>
      </pc:sldChg>
      <pc:sldChg chg="add del">
        <pc:chgData name="Md Fahim Hasan" userId="92968fce-d4dd-4b9e-8635-66a07c9f98a7" providerId="ADAL" clId="{3A6F4128-6482-4C75-8C7D-220A75826C22}" dt="2023-07-26T20:52:57.675" v="28860" actId="47"/>
        <pc:sldMkLst>
          <pc:docMk/>
          <pc:sldMk cId="188364690" sldId="2146846433"/>
        </pc:sldMkLst>
      </pc:sldChg>
      <pc:sldChg chg="delSp add del setBg delDesignElem">
        <pc:chgData name="Md Fahim Hasan" userId="92968fce-d4dd-4b9e-8635-66a07c9f98a7" providerId="ADAL" clId="{3A6F4128-6482-4C75-8C7D-220A75826C22}" dt="2023-07-27T15:50:04.803" v="35700" actId="47"/>
        <pc:sldMkLst>
          <pc:docMk/>
          <pc:sldMk cId="346162532" sldId="2146846433"/>
        </pc:sldMkLst>
        <pc:spChg chg="del">
          <ac:chgData name="Md Fahim Hasan" userId="92968fce-d4dd-4b9e-8635-66a07c9f98a7" providerId="ADAL" clId="{3A6F4128-6482-4C75-8C7D-220A75826C22}" dt="2023-07-27T15:49:52.070" v="35699"/>
          <ac:spMkLst>
            <pc:docMk/>
            <pc:sldMk cId="346162532" sldId="2146846433"/>
            <ac:spMk id="14" creationId="{17718681-A12E-49D6-9925-DD7C68176D61}"/>
          </ac:spMkLst>
        </pc:spChg>
        <pc:spChg chg="del">
          <ac:chgData name="Md Fahim Hasan" userId="92968fce-d4dd-4b9e-8635-66a07c9f98a7" providerId="ADAL" clId="{3A6F4128-6482-4C75-8C7D-220A75826C22}" dt="2023-07-27T15:49:52.070" v="35699"/>
          <ac:spMkLst>
            <pc:docMk/>
            <pc:sldMk cId="346162532" sldId="2146846433"/>
            <ac:spMk id="16" creationId="{FBD77573-9EF2-4C35-8285-A1CF6FBB0EA5}"/>
          </ac:spMkLst>
        </pc:spChg>
      </pc:sldChg>
      <pc:sldChg chg="add del">
        <pc:chgData name="Md Fahim Hasan" userId="92968fce-d4dd-4b9e-8635-66a07c9f98a7" providerId="ADAL" clId="{3A6F4128-6482-4C75-8C7D-220A75826C22}" dt="2023-07-25T21:12:14.264" v="21110" actId="47"/>
        <pc:sldMkLst>
          <pc:docMk/>
          <pc:sldMk cId="3134003707" sldId="2146846433"/>
        </pc:sldMkLst>
      </pc:sldChg>
      <pc:sldChg chg="modSp add del mod">
        <pc:chgData name="Md Fahim Hasan" userId="92968fce-d4dd-4b9e-8635-66a07c9f98a7" providerId="ADAL" clId="{3A6F4128-6482-4C75-8C7D-220A75826C22}" dt="2023-07-25T20:24:33.072" v="20468" actId="47"/>
        <pc:sldMkLst>
          <pc:docMk/>
          <pc:sldMk cId="4125433541" sldId="2146846433"/>
        </pc:sldMkLst>
        <pc:spChg chg="mod">
          <ac:chgData name="Md Fahim Hasan" userId="92968fce-d4dd-4b9e-8635-66a07c9f98a7" providerId="ADAL" clId="{3A6F4128-6482-4C75-8C7D-220A75826C22}" dt="2023-07-25T20:24:28.444" v="20467" actId="20577"/>
          <ac:spMkLst>
            <pc:docMk/>
            <pc:sldMk cId="4125433541" sldId="2146846433"/>
            <ac:spMk id="9" creationId="{DCE765C9-F866-A10C-05BC-B0F5CF7D4FA9}"/>
          </ac:spMkLst>
        </pc:spChg>
      </pc:sldChg>
      <pc:sldChg chg="addSp delSp modSp add mod">
        <pc:chgData name="Md Fahim Hasan" userId="92968fce-d4dd-4b9e-8635-66a07c9f98a7" providerId="ADAL" clId="{3A6F4128-6482-4C75-8C7D-220A75826C22}" dt="2023-07-28T17:10:12.926" v="38773" actId="1076"/>
        <pc:sldMkLst>
          <pc:docMk/>
          <pc:sldMk cId="2603327664" sldId="2146846434"/>
        </pc:sldMkLst>
        <pc:spChg chg="del">
          <ac:chgData name="Md Fahim Hasan" userId="92968fce-d4dd-4b9e-8635-66a07c9f98a7" providerId="ADAL" clId="{3A6F4128-6482-4C75-8C7D-220A75826C22}" dt="2023-07-28T17:02:53.656" v="38308" actId="478"/>
          <ac:spMkLst>
            <pc:docMk/>
            <pc:sldMk cId="2603327664" sldId="2146846434"/>
            <ac:spMk id="2" creationId="{90C96AA1-6C12-6623-0754-4E4DD20BEE5B}"/>
          </ac:spMkLst>
        </pc:spChg>
        <pc:spChg chg="mod">
          <ac:chgData name="Md Fahim Hasan" userId="92968fce-d4dd-4b9e-8635-66a07c9f98a7" providerId="ADAL" clId="{3A6F4128-6482-4C75-8C7D-220A75826C22}" dt="2023-07-28T17:02:56.394" v="38309" actId="1076"/>
          <ac:spMkLst>
            <pc:docMk/>
            <pc:sldMk cId="2603327664" sldId="2146846434"/>
            <ac:spMk id="9" creationId="{DCE765C9-F866-A10C-05BC-B0F5CF7D4FA9}"/>
          </ac:spMkLst>
        </pc:spChg>
        <pc:graphicFrameChg chg="add del mod modGraphic">
          <ac:chgData name="Md Fahim Hasan" userId="92968fce-d4dd-4b9e-8635-66a07c9f98a7" providerId="ADAL" clId="{3A6F4128-6482-4C75-8C7D-220A75826C22}" dt="2023-07-28T17:04:21.080" v="38330" actId="478"/>
          <ac:graphicFrameMkLst>
            <pc:docMk/>
            <pc:sldMk cId="2603327664" sldId="2146846434"/>
            <ac:graphicFrameMk id="4" creationId="{B8BE19D2-F3F8-FB8C-23A2-D3A4555395A7}"/>
          </ac:graphicFrameMkLst>
        </pc:graphicFrameChg>
        <pc:graphicFrameChg chg="add mod modGraphic">
          <ac:chgData name="Md Fahim Hasan" userId="92968fce-d4dd-4b9e-8635-66a07c9f98a7" providerId="ADAL" clId="{3A6F4128-6482-4C75-8C7D-220A75826C22}" dt="2023-07-28T17:10:12.926" v="38773" actId="1076"/>
          <ac:graphicFrameMkLst>
            <pc:docMk/>
            <pc:sldMk cId="2603327664" sldId="2146846434"/>
            <ac:graphicFrameMk id="5" creationId="{A4E8D83B-07E6-446B-4C64-9CA10E465285}"/>
          </ac:graphicFrameMkLst>
        </pc:graphicFrameChg>
      </pc:sldChg>
      <pc:sldChg chg="add del">
        <pc:chgData name="Md Fahim Hasan" userId="92968fce-d4dd-4b9e-8635-66a07c9f98a7" providerId="ADAL" clId="{3A6F4128-6482-4C75-8C7D-220A75826C22}" dt="2023-07-26T20:50:30.185" v="28845"/>
        <pc:sldMkLst>
          <pc:docMk/>
          <pc:sldMk cId="3692847609" sldId="2146846434"/>
        </pc:sldMkLst>
      </pc:sldChg>
      <pc:sldChg chg="addSp delSp modSp add mod ord">
        <pc:chgData name="Md Fahim Hasan" userId="92968fce-d4dd-4b9e-8635-66a07c9f98a7" providerId="ADAL" clId="{3A6F4128-6482-4C75-8C7D-220A75826C22}" dt="2023-07-28T17:21:49.004" v="38877" actId="20577"/>
        <pc:sldMkLst>
          <pc:docMk/>
          <pc:sldMk cId="3078875381" sldId="2146846435"/>
        </pc:sldMkLst>
        <pc:spChg chg="add mod">
          <ac:chgData name="Md Fahim Hasan" userId="92968fce-d4dd-4b9e-8635-66a07c9f98a7" providerId="ADAL" clId="{3A6F4128-6482-4C75-8C7D-220A75826C22}" dt="2023-07-28T17:21:49.004" v="38877" actId="20577"/>
          <ac:spMkLst>
            <pc:docMk/>
            <pc:sldMk cId="3078875381" sldId="2146846435"/>
            <ac:spMk id="2" creationId="{2D1AE629-3425-E62E-A6F6-3EF5E791B476}"/>
          </ac:spMkLst>
        </pc:spChg>
        <pc:spChg chg="mod">
          <ac:chgData name="Md Fahim Hasan" userId="92968fce-d4dd-4b9e-8635-66a07c9f98a7" providerId="ADAL" clId="{3A6F4128-6482-4C75-8C7D-220A75826C22}" dt="2023-07-28T17:10:56.824" v="38796" actId="20577"/>
          <ac:spMkLst>
            <pc:docMk/>
            <pc:sldMk cId="3078875381" sldId="2146846435"/>
            <ac:spMk id="9" creationId="{DCE765C9-F866-A10C-05BC-B0F5CF7D4FA9}"/>
          </ac:spMkLst>
        </pc:spChg>
        <pc:graphicFrameChg chg="del">
          <ac:chgData name="Md Fahim Hasan" userId="92968fce-d4dd-4b9e-8635-66a07c9f98a7" providerId="ADAL" clId="{3A6F4128-6482-4C75-8C7D-220A75826C22}" dt="2023-07-28T17:11:00.172" v="38797" actId="478"/>
          <ac:graphicFrameMkLst>
            <pc:docMk/>
            <pc:sldMk cId="3078875381" sldId="2146846435"/>
            <ac:graphicFrameMk id="5" creationId="{A4E8D83B-07E6-446B-4C64-9CA10E465285}"/>
          </ac:graphicFrameMkLst>
        </pc:graphicFrameChg>
      </pc:sldChg>
      <pc:sldMasterChg chg="addSp delSp modSp mod modSldLayout">
        <pc:chgData name="Md Fahim Hasan" userId="92968fce-d4dd-4b9e-8635-66a07c9f98a7" providerId="ADAL" clId="{3A6F4128-6482-4C75-8C7D-220A75826C22}" dt="2023-07-27T15:49:36.895" v="35696" actId="33475"/>
        <pc:sldMasterMkLst>
          <pc:docMk/>
          <pc:sldMasterMk cId="4038401867" sldId="2147483648"/>
        </pc:sldMasterMkLst>
        <pc:spChg chg="del">
          <ac:chgData name="Md Fahim Hasan" userId="92968fce-d4dd-4b9e-8635-66a07c9f98a7" providerId="ADAL" clId="{3A6F4128-6482-4C75-8C7D-220A75826C22}" dt="2023-07-27T15:46:07.306" v="35675" actId="33475"/>
          <ac:spMkLst>
            <pc:docMk/>
            <pc:sldMasterMk cId="4038401867" sldId="2147483648"/>
            <ac:spMk id="8" creationId="{227DBA1F-874F-D230-754D-6221FB495EAF}"/>
          </ac:spMkLst>
        </pc:spChg>
        <pc:spChg chg="add del">
          <ac:chgData name="Md Fahim Hasan" userId="92968fce-d4dd-4b9e-8635-66a07c9f98a7" providerId="ADAL" clId="{3A6F4128-6482-4C75-8C7D-220A75826C22}" dt="2023-07-27T15:46:49.835" v="35678" actId="33475"/>
          <ac:spMkLst>
            <pc:docMk/>
            <pc:sldMasterMk cId="4038401867" sldId="2147483648"/>
            <ac:spMk id="9" creationId="{10F83691-4902-E953-615E-CD1A90474173}"/>
          </ac:spMkLst>
        </pc:spChg>
        <pc:spChg chg="add del">
          <ac:chgData name="Md Fahim Hasan" userId="92968fce-d4dd-4b9e-8635-66a07c9f98a7" providerId="ADAL" clId="{3A6F4128-6482-4C75-8C7D-220A75826C22}" dt="2023-07-27T15:48:17.901" v="35681" actId="33475"/>
          <ac:spMkLst>
            <pc:docMk/>
            <pc:sldMasterMk cId="4038401867" sldId="2147483648"/>
            <ac:spMk id="11" creationId="{20BBA2B4-8A89-8C5D-E5C3-A6E4980B921F}"/>
          </ac:spMkLst>
        </pc:spChg>
        <pc:spChg chg="add mod">
          <ac:chgData name="Md Fahim Hasan" userId="92968fce-d4dd-4b9e-8635-66a07c9f98a7" providerId="ADAL" clId="{3A6F4128-6482-4C75-8C7D-220A75826C22}" dt="2023-07-27T15:49:36.895" v="35696" actId="33475"/>
          <ac:spMkLst>
            <pc:docMk/>
            <pc:sldMasterMk cId="4038401867" sldId="2147483648"/>
            <ac:spMk id="13" creationId="{6F5D3AD0-8C37-632B-6BAF-46AB667E0B67}"/>
          </ac:spMkLst>
        </pc:spChg>
        <pc:sldLayoutChg chg="modSp mod">
          <pc:chgData name="Md Fahim Hasan" userId="92968fce-d4dd-4b9e-8635-66a07c9f98a7" providerId="ADAL" clId="{3A6F4128-6482-4C75-8C7D-220A75826C22}" dt="2023-07-21T16:12:21.668" v="11289" actId="255"/>
          <pc:sldLayoutMkLst>
            <pc:docMk/>
            <pc:sldMasterMk cId="4038401867" sldId="2147483648"/>
            <pc:sldLayoutMk cId="2252221452" sldId="2147483661"/>
          </pc:sldLayoutMkLst>
          <pc:spChg chg="mod">
            <ac:chgData name="Md Fahim Hasan" userId="92968fce-d4dd-4b9e-8635-66a07c9f98a7" providerId="ADAL" clId="{3A6F4128-6482-4C75-8C7D-220A75826C22}" dt="2023-07-21T16:11:06.516" v="11284" actId="1076"/>
            <ac:spMkLst>
              <pc:docMk/>
              <pc:sldMasterMk cId="4038401867" sldId="2147483648"/>
              <pc:sldLayoutMk cId="2252221452" sldId="2147483661"/>
              <ac:spMk id="4" creationId="{00000000-0000-0000-0000-000000000000}"/>
            </ac:spMkLst>
          </pc:spChg>
          <pc:spChg chg="mod">
            <ac:chgData name="Md Fahim Hasan" userId="92968fce-d4dd-4b9e-8635-66a07c9f98a7" providerId="ADAL" clId="{3A6F4128-6482-4C75-8C7D-220A75826C22}" dt="2023-07-21T16:12:21.668" v="11289" actId="255"/>
            <ac:spMkLst>
              <pc:docMk/>
              <pc:sldMasterMk cId="4038401867" sldId="2147483648"/>
              <pc:sldLayoutMk cId="2252221452" sldId="2147483661"/>
              <ac:spMk id="6" creationId="{00000000-0000-0000-0000-000000000000}"/>
            </ac:spMkLst>
          </pc:spChg>
        </pc:sldLayoutChg>
      </pc:sldMasterChg>
      <pc:sldMasterChg chg="addSp mod">
        <pc:chgData name="Md Fahim Hasan" userId="92968fce-d4dd-4b9e-8635-66a07c9f98a7" providerId="ADAL" clId="{3A6F4128-6482-4C75-8C7D-220A75826C22}" dt="2023-07-27T15:52:46.031" v="35713" actId="33475"/>
        <pc:sldMasterMkLst>
          <pc:docMk/>
          <pc:sldMasterMk cId="504622474" sldId="2147483662"/>
        </pc:sldMasterMkLst>
        <pc:spChg chg="add">
          <ac:chgData name="Md Fahim Hasan" userId="92968fce-d4dd-4b9e-8635-66a07c9f98a7" providerId="ADAL" clId="{3A6F4128-6482-4C75-8C7D-220A75826C22}" dt="2023-07-27T15:52:46.031" v="35713" actId="33475"/>
          <ac:spMkLst>
            <pc:docMk/>
            <pc:sldMasterMk cId="504622474" sldId="2147483662"/>
            <ac:spMk id="8" creationId="{03E95661-7743-F296-1F96-72676123408F}"/>
          </ac:spMkLst>
        </pc:spChg>
      </pc:sldMasterChg>
    </pc:docChg>
  </pc:docChgLst>
  <pc:docChgLst>
    <pc:chgData name="Feng Yu" userId="c4296079-1ff1-42fb-b039-eea7909ccca4" providerId="ADAL" clId="{2830182F-6579-404B-BCA4-FB94AB31098F}"/>
    <pc:docChg chg="">
      <pc:chgData name="Feng Yu" userId="c4296079-1ff1-42fb-b039-eea7909ccca4" providerId="ADAL" clId="{2830182F-6579-404B-BCA4-FB94AB31098F}" dt="2023-07-25T18:43:38.111" v="0" actId="2056"/>
      <pc:docMkLst>
        <pc:docMk/>
      </pc:docMkLst>
      <pc:sldChg chg="modCm">
        <pc:chgData name="Feng Yu" userId="c4296079-1ff1-42fb-b039-eea7909ccca4" providerId="ADAL" clId="{2830182F-6579-404B-BCA4-FB94AB31098F}" dt="2023-07-25T18:43:38.111" v="0" actId="2056"/>
        <pc:sldMkLst>
          <pc:docMk/>
          <pc:sldMk cId="3666602129" sldId="2146846383"/>
        </pc:sldMkLst>
      </pc:sldChg>
    </pc:docChg>
  </pc:docChgLst>
  <pc:docChgLst>
    <pc:chgData name="Ariel Wang" userId="d2c7e74e-eae9-4734-a288-19d4dc96c996" providerId="ADAL" clId="{6707D0DE-09F7-DB41-A5DA-F59333012196}"/>
    <pc:docChg chg="undo custSel modSld sldOrd">
      <pc:chgData name="Ariel Wang" userId="d2c7e74e-eae9-4734-a288-19d4dc96c996" providerId="ADAL" clId="{6707D0DE-09F7-DB41-A5DA-F59333012196}" dt="2023-07-28T03:51:56.755" v="3185" actId="115"/>
      <pc:docMkLst>
        <pc:docMk/>
      </pc:docMkLst>
      <pc:sldChg chg="modSp mod addCm">
        <pc:chgData name="Ariel Wang" userId="d2c7e74e-eae9-4734-a288-19d4dc96c996" providerId="ADAL" clId="{6707D0DE-09F7-DB41-A5DA-F59333012196}" dt="2023-07-25T15:03:01.179" v="2"/>
        <pc:sldMkLst>
          <pc:docMk/>
          <pc:sldMk cId="4056719616" sldId="2146846337"/>
        </pc:sldMkLst>
        <pc:spChg chg="mod">
          <ac:chgData name="Ariel Wang" userId="d2c7e74e-eae9-4734-a288-19d4dc96c996" providerId="ADAL" clId="{6707D0DE-09F7-DB41-A5DA-F59333012196}" dt="2023-07-25T15:02:14.098" v="1" actId="403"/>
          <ac:spMkLst>
            <pc:docMk/>
            <pc:sldMk cId="4056719616" sldId="2146846337"/>
            <ac:spMk id="10" creationId="{F6E243F7-F258-1A63-610D-FF7CD8668613}"/>
          </ac:spMkLst>
        </pc:spChg>
      </pc:sldChg>
      <pc:sldChg chg="modSp mod">
        <pc:chgData name="Ariel Wang" userId="d2c7e74e-eae9-4734-a288-19d4dc96c996" providerId="ADAL" clId="{6707D0DE-09F7-DB41-A5DA-F59333012196}" dt="2023-07-27T19:06:38.390" v="2888" actId="27636"/>
        <pc:sldMkLst>
          <pc:docMk/>
          <pc:sldMk cId="592699982" sldId="2146846382"/>
        </pc:sldMkLst>
        <pc:spChg chg="mod">
          <ac:chgData name="Ariel Wang" userId="d2c7e74e-eae9-4734-a288-19d4dc96c996" providerId="ADAL" clId="{6707D0DE-09F7-DB41-A5DA-F59333012196}" dt="2023-07-27T19:06:38.390" v="2888" actId="27636"/>
          <ac:spMkLst>
            <pc:docMk/>
            <pc:sldMk cId="592699982" sldId="2146846382"/>
            <ac:spMk id="5" creationId="{6B0E3D4A-AE11-4EEE-47A3-F08F39D0D674}"/>
          </ac:spMkLst>
        </pc:spChg>
      </pc:sldChg>
      <pc:sldChg chg="addSp delSp modSp mod addCm modCm modNotesTx">
        <pc:chgData name="Ariel Wang" userId="d2c7e74e-eae9-4734-a288-19d4dc96c996" providerId="ADAL" clId="{6707D0DE-09F7-DB41-A5DA-F59333012196}" dt="2023-07-27T19:10:28.332" v="3051" actId="20577"/>
        <pc:sldMkLst>
          <pc:docMk/>
          <pc:sldMk cId="3666602129" sldId="2146846383"/>
        </pc:sldMkLst>
        <pc:spChg chg="add del mod">
          <ac:chgData name="Ariel Wang" userId="d2c7e74e-eae9-4734-a288-19d4dc96c996" providerId="ADAL" clId="{6707D0DE-09F7-DB41-A5DA-F59333012196}" dt="2023-07-26T22:31:29.044" v="895" actId="1076"/>
          <ac:spMkLst>
            <pc:docMk/>
            <pc:sldMk cId="3666602129" sldId="2146846383"/>
            <ac:spMk id="3" creationId="{47362F07-4913-5AB4-655D-190F6C4B7BB8}"/>
          </ac:spMkLst>
        </pc:spChg>
        <pc:spChg chg="mod topLvl">
          <ac:chgData name="Ariel Wang" userId="d2c7e74e-eae9-4734-a288-19d4dc96c996" providerId="ADAL" clId="{6707D0DE-09F7-DB41-A5DA-F59333012196}" dt="2023-07-26T22:30:29.649" v="850" actId="33524"/>
          <ac:spMkLst>
            <pc:docMk/>
            <pc:sldMk cId="3666602129" sldId="2146846383"/>
            <ac:spMk id="8" creationId="{B6129EBB-5BBC-0496-43B1-E5DD89BBC166}"/>
          </ac:spMkLst>
        </pc:spChg>
        <pc:spChg chg="del topLvl">
          <ac:chgData name="Ariel Wang" userId="d2c7e74e-eae9-4734-a288-19d4dc96c996" providerId="ADAL" clId="{6707D0DE-09F7-DB41-A5DA-F59333012196}" dt="2023-07-26T22:27:47.510" v="753" actId="478"/>
          <ac:spMkLst>
            <pc:docMk/>
            <pc:sldMk cId="3666602129" sldId="2146846383"/>
            <ac:spMk id="10" creationId="{FD2BE369-0164-20DF-CE48-AEBDAC58B505}"/>
          </ac:spMkLst>
        </pc:spChg>
        <pc:spChg chg="mod">
          <ac:chgData name="Ariel Wang" userId="d2c7e74e-eae9-4734-a288-19d4dc96c996" providerId="ADAL" clId="{6707D0DE-09F7-DB41-A5DA-F59333012196}" dt="2023-07-25T16:27:52.975" v="29" actId="20577"/>
          <ac:spMkLst>
            <pc:docMk/>
            <pc:sldMk cId="3666602129" sldId="2146846383"/>
            <ac:spMk id="14" creationId="{B9F5EBE5-BF4F-6602-E462-2A211297793D}"/>
          </ac:spMkLst>
        </pc:spChg>
        <pc:grpChg chg="del">
          <ac:chgData name="Ariel Wang" userId="d2c7e74e-eae9-4734-a288-19d4dc96c996" providerId="ADAL" clId="{6707D0DE-09F7-DB41-A5DA-F59333012196}" dt="2023-07-26T22:27:47.510" v="753" actId="478"/>
          <ac:grpSpMkLst>
            <pc:docMk/>
            <pc:sldMk cId="3666602129" sldId="2146846383"/>
            <ac:grpSpMk id="11" creationId="{A0E860F0-76C5-0E31-CEEB-C002D6CBA973}"/>
          </ac:grpSpMkLst>
        </pc:grpChg>
        <pc:graphicFrameChg chg="mod">
          <ac:chgData name="Ariel Wang" userId="d2c7e74e-eae9-4734-a288-19d4dc96c996" providerId="ADAL" clId="{6707D0DE-09F7-DB41-A5DA-F59333012196}" dt="2023-07-26T23:15:54.002" v="999" actId="20577"/>
          <ac:graphicFrameMkLst>
            <pc:docMk/>
            <pc:sldMk cId="3666602129" sldId="2146846383"/>
            <ac:graphicFrameMk id="15" creationId="{A1F61D02-76F0-6BAF-2680-6342F5A3100A}"/>
          </ac:graphicFrameMkLst>
        </pc:graphicFrameChg>
      </pc:sldChg>
      <pc:sldChg chg="modSp mod ord addCm modCm">
        <pc:chgData name="Ariel Wang" userId="d2c7e74e-eae9-4734-a288-19d4dc96c996" providerId="ADAL" clId="{6707D0DE-09F7-DB41-A5DA-F59333012196}" dt="2023-07-27T20:50:15.612" v="3057"/>
        <pc:sldMkLst>
          <pc:docMk/>
          <pc:sldMk cId="268688356" sldId="2146846385"/>
        </pc:sldMkLst>
        <pc:spChg chg="mod">
          <ac:chgData name="Ariel Wang" userId="d2c7e74e-eae9-4734-a288-19d4dc96c996" providerId="ADAL" clId="{6707D0DE-09F7-DB41-A5DA-F59333012196}" dt="2023-07-25T16:30:17.024" v="34" actId="1076"/>
          <ac:spMkLst>
            <pc:docMk/>
            <pc:sldMk cId="268688356" sldId="2146846385"/>
            <ac:spMk id="5" creationId="{78336494-07A2-AFEF-44BC-F6BB3B326DA1}"/>
          </ac:spMkLst>
        </pc:spChg>
      </pc:sldChg>
      <pc:sldChg chg="modSp mod">
        <pc:chgData name="Ariel Wang" userId="d2c7e74e-eae9-4734-a288-19d4dc96c996" providerId="ADAL" clId="{6707D0DE-09F7-DB41-A5DA-F59333012196}" dt="2023-07-27T20:57:33.972" v="3061" actId="20577"/>
        <pc:sldMkLst>
          <pc:docMk/>
          <pc:sldMk cId="2477569122" sldId="2146846390"/>
        </pc:sldMkLst>
        <pc:spChg chg="mod">
          <ac:chgData name="Ariel Wang" userId="d2c7e74e-eae9-4734-a288-19d4dc96c996" providerId="ADAL" clId="{6707D0DE-09F7-DB41-A5DA-F59333012196}" dt="2023-07-27T19:12:49.139" v="3052" actId="20577"/>
          <ac:spMkLst>
            <pc:docMk/>
            <pc:sldMk cId="2477569122" sldId="2146846390"/>
            <ac:spMk id="4" creationId="{59A6018B-9E1B-2CF1-7DA2-59B339EE12B2}"/>
          </ac:spMkLst>
        </pc:spChg>
        <pc:spChg chg="mod">
          <ac:chgData name="Ariel Wang" userId="d2c7e74e-eae9-4734-a288-19d4dc96c996" providerId="ADAL" clId="{6707D0DE-09F7-DB41-A5DA-F59333012196}" dt="2023-07-27T20:57:33.972" v="3061" actId="20577"/>
          <ac:spMkLst>
            <pc:docMk/>
            <pc:sldMk cId="2477569122" sldId="2146846390"/>
            <ac:spMk id="14" creationId="{C1FF783D-9D48-5F9F-F53C-427DF5C7F34C}"/>
          </ac:spMkLst>
        </pc:spChg>
      </pc:sldChg>
      <pc:sldChg chg="modSp mod">
        <pc:chgData name="Ariel Wang" userId="d2c7e74e-eae9-4734-a288-19d4dc96c996" providerId="ADAL" clId="{6707D0DE-09F7-DB41-A5DA-F59333012196}" dt="2023-07-28T03:38:39.606" v="3088" actId="20577"/>
        <pc:sldMkLst>
          <pc:docMk/>
          <pc:sldMk cId="2208349164" sldId="2146846392"/>
        </pc:sldMkLst>
        <pc:spChg chg="mod">
          <ac:chgData name="Ariel Wang" userId="d2c7e74e-eae9-4734-a288-19d4dc96c996" providerId="ADAL" clId="{6707D0DE-09F7-DB41-A5DA-F59333012196}" dt="2023-07-28T03:38:39.606" v="3088" actId="20577"/>
          <ac:spMkLst>
            <pc:docMk/>
            <pc:sldMk cId="2208349164" sldId="2146846392"/>
            <ac:spMk id="4" creationId="{B4EACCC8-A0AE-2AB6-B07C-62D44ABA8828}"/>
          </ac:spMkLst>
        </pc:spChg>
      </pc:sldChg>
      <pc:sldChg chg="modSp mod">
        <pc:chgData name="Ariel Wang" userId="d2c7e74e-eae9-4734-a288-19d4dc96c996" providerId="ADAL" clId="{6707D0DE-09F7-DB41-A5DA-F59333012196}" dt="2023-07-28T03:38:21.483" v="3079" actId="20577"/>
        <pc:sldMkLst>
          <pc:docMk/>
          <pc:sldMk cId="1203333433" sldId="2146846393"/>
        </pc:sldMkLst>
        <pc:spChg chg="mod">
          <ac:chgData name="Ariel Wang" userId="d2c7e74e-eae9-4734-a288-19d4dc96c996" providerId="ADAL" clId="{6707D0DE-09F7-DB41-A5DA-F59333012196}" dt="2023-07-28T03:38:21.483" v="3079" actId="20577"/>
          <ac:spMkLst>
            <pc:docMk/>
            <pc:sldMk cId="1203333433" sldId="2146846393"/>
            <ac:spMk id="5" creationId="{BC1754F1-682A-BE94-E0A0-10CA6FA4AE0D}"/>
          </ac:spMkLst>
        </pc:spChg>
      </pc:sldChg>
      <pc:sldChg chg="modSp mod">
        <pc:chgData name="Ariel Wang" userId="d2c7e74e-eae9-4734-a288-19d4dc96c996" providerId="ADAL" clId="{6707D0DE-09F7-DB41-A5DA-F59333012196}" dt="2023-07-28T03:42:34.952" v="3105" actId="20577"/>
        <pc:sldMkLst>
          <pc:docMk/>
          <pc:sldMk cId="4153267118" sldId="2146846397"/>
        </pc:sldMkLst>
        <pc:spChg chg="mod">
          <ac:chgData name="Ariel Wang" userId="d2c7e74e-eae9-4734-a288-19d4dc96c996" providerId="ADAL" clId="{6707D0DE-09F7-DB41-A5DA-F59333012196}" dt="2023-07-28T03:42:34.952" v="3105" actId="20577"/>
          <ac:spMkLst>
            <pc:docMk/>
            <pc:sldMk cId="4153267118" sldId="2146846397"/>
            <ac:spMk id="10" creationId="{DDD763E9-CE6D-7E6C-735D-E01DF9793F16}"/>
          </ac:spMkLst>
        </pc:spChg>
      </pc:sldChg>
      <pc:sldChg chg="modSp mod">
        <pc:chgData name="Ariel Wang" userId="d2c7e74e-eae9-4734-a288-19d4dc96c996" providerId="ADAL" clId="{6707D0DE-09F7-DB41-A5DA-F59333012196}" dt="2023-07-28T03:43:21.907" v="3113" actId="20577"/>
        <pc:sldMkLst>
          <pc:docMk/>
          <pc:sldMk cId="371844730" sldId="2146846398"/>
        </pc:sldMkLst>
        <pc:spChg chg="mod">
          <ac:chgData name="Ariel Wang" userId="d2c7e74e-eae9-4734-a288-19d4dc96c996" providerId="ADAL" clId="{6707D0DE-09F7-DB41-A5DA-F59333012196}" dt="2023-07-28T03:43:21.907" v="3113" actId="20577"/>
          <ac:spMkLst>
            <pc:docMk/>
            <pc:sldMk cId="371844730" sldId="2146846398"/>
            <ac:spMk id="2" creationId="{B0865CE3-FB3D-D767-F7F8-E149E6F708BA}"/>
          </ac:spMkLst>
        </pc:spChg>
      </pc:sldChg>
      <pc:sldChg chg="mod modShow addCm">
        <pc:chgData name="Ariel Wang" userId="d2c7e74e-eae9-4734-a288-19d4dc96c996" providerId="ADAL" clId="{6707D0DE-09F7-DB41-A5DA-F59333012196}" dt="2023-07-25T16:21:24.638" v="5"/>
        <pc:sldMkLst>
          <pc:docMk/>
          <pc:sldMk cId="1519544032" sldId="2146846399"/>
        </pc:sldMkLst>
      </pc:sldChg>
      <pc:sldChg chg="modSp mod">
        <pc:chgData name="Ariel Wang" userId="d2c7e74e-eae9-4734-a288-19d4dc96c996" providerId="ADAL" clId="{6707D0DE-09F7-DB41-A5DA-F59333012196}" dt="2023-07-27T19:14:30.145" v="3054" actId="113"/>
        <pc:sldMkLst>
          <pc:docMk/>
          <pc:sldMk cId="3126584536" sldId="2146846401"/>
        </pc:sldMkLst>
        <pc:spChg chg="mod">
          <ac:chgData name="Ariel Wang" userId="d2c7e74e-eae9-4734-a288-19d4dc96c996" providerId="ADAL" clId="{6707D0DE-09F7-DB41-A5DA-F59333012196}" dt="2023-07-27T19:14:30.145" v="3054" actId="113"/>
          <ac:spMkLst>
            <pc:docMk/>
            <pc:sldMk cId="3126584536" sldId="2146846401"/>
            <ac:spMk id="2" creationId="{7954C781-6118-2324-A69A-96D5BF3A525F}"/>
          </ac:spMkLst>
        </pc:spChg>
      </pc:sldChg>
      <pc:sldChg chg="mod modShow">
        <pc:chgData name="Ariel Wang" userId="d2c7e74e-eae9-4734-a288-19d4dc96c996" providerId="ADAL" clId="{6707D0DE-09F7-DB41-A5DA-F59333012196}" dt="2023-07-25T16:21:52.359" v="6" actId="729"/>
        <pc:sldMkLst>
          <pc:docMk/>
          <pc:sldMk cId="3556960417" sldId="2146846404"/>
        </pc:sldMkLst>
      </pc:sldChg>
      <pc:sldChg chg="addSp delSp modSp mod delAnim">
        <pc:chgData name="Ariel Wang" userId="d2c7e74e-eae9-4734-a288-19d4dc96c996" providerId="ADAL" clId="{6707D0DE-09F7-DB41-A5DA-F59333012196}" dt="2023-07-28T03:45:18.925" v="3120" actId="14100"/>
        <pc:sldMkLst>
          <pc:docMk/>
          <pc:sldMk cId="4158318354" sldId="2146846405"/>
        </pc:sldMkLst>
        <pc:picChg chg="add mod modCrop">
          <ac:chgData name="Ariel Wang" userId="d2c7e74e-eae9-4734-a288-19d4dc96c996" providerId="ADAL" clId="{6707D0DE-09F7-DB41-A5DA-F59333012196}" dt="2023-07-25T17:26:10.468" v="40" actId="1076"/>
          <ac:picMkLst>
            <pc:docMk/>
            <pc:sldMk cId="4158318354" sldId="2146846405"/>
            <ac:picMk id="7" creationId="{7933CCE4-2345-F731-C00F-AEC32D0BEB53}"/>
          </ac:picMkLst>
        </pc:picChg>
        <pc:picChg chg="add mod">
          <ac:chgData name="Ariel Wang" userId="d2c7e74e-eae9-4734-a288-19d4dc96c996" providerId="ADAL" clId="{6707D0DE-09F7-DB41-A5DA-F59333012196}" dt="2023-07-25T17:26:12.944" v="42" actId="1076"/>
          <ac:picMkLst>
            <pc:docMk/>
            <pc:sldMk cId="4158318354" sldId="2146846405"/>
            <ac:picMk id="10" creationId="{F75BF2A5-2790-A746-0313-ABF0A7988758}"/>
          </ac:picMkLst>
        </pc:picChg>
        <pc:picChg chg="add mod">
          <ac:chgData name="Ariel Wang" userId="d2c7e74e-eae9-4734-a288-19d4dc96c996" providerId="ADAL" clId="{6707D0DE-09F7-DB41-A5DA-F59333012196}" dt="2023-07-25T17:26:14.909" v="44" actId="1076"/>
          <ac:picMkLst>
            <pc:docMk/>
            <pc:sldMk cId="4158318354" sldId="2146846405"/>
            <ac:picMk id="13" creationId="{600A6E69-3336-B0AB-21E8-9B46B3B7FED5}"/>
          </ac:picMkLst>
        </pc:picChg>
        <pc:picChg chg="add mod">
          <ac:chgData name="Ariel Wang" userId="d2c7e74e-eae9-4734-a288-19d4dc96c996" providerId="ADAL" clId="{6707D0DE-09F7-DB41-A5DA-F59333012196}" dt="2023-07-25T17:26:17.449" v="46" actId="1076"/>
          <ac:picMkLst>
            <pc:docMk/>
            <pc:sldMk cId="4158318354" sldId="2146846405"/>
            <ac:picMk id="14" creationId="{C8CC61A1-CC55-4DD4-7937-04171FD999C6}"/>
          </ac:picMkLst>
        </pc:picChg>
        <pc:cxnChg chg="add mod">
          <ac:chgData name="Ariel Wang" userId="d2c7e74e-eae9-4734-a288-19d4dc96c996" providerId="ADAL" clId="{6707D0DE-09F7-DB41-A5DA-F59333012196}" dt="2023-07-28T03:44:56.386" v="3115" actId="13822"/>
          <ac:cxnSpMkLst>
            <pc:docMk/>
            <pc:sldMk cId="4158318354" sldId="2146846405"/>
            <ac:cxnSpMk id="10" creationId="{954496D0-487D-9A4C-B9D9-751FE69133E5}"/>
          </ac:cxnSpMkLst>
        </pc:cxnChg>
        <pc:cxnChg chg="del">
          <ac:chgData name="Ariel Wang" userId="d2c7e74e-eae9-4734-a288-19d4dc96c996" providerId="ADAL" clId="{6707D0DE-09F7-DB41-A5DA-F59333012196}" dt="2023-07-28T03:45:01.326" v="3116" actId="478"/>
          <ac:cxnSpMkLst>
            <pc:docMk/>
            <pc:sldMk cId="4158318354" sldId="2146846405"/>
            <ac:cxnSpMk id="27" creationId="{9DF090FC-BE88-4448-BF11-C6BAAEE37B76}"/>
          </ac:cxnSpMkLst>
        </pc:cxnChg>
        <pc:cxnChg chg="mod">
          <ac:chgData name="Ariel Wang" userId="d2c7e74e-eae9-4734-a288-19d4dc96c996" providerId="ADAL" clId="{6707D0DE-09F7-DB41-A5DA-F59333012196}" dt="2023-07-28T03:45:16.944" v="3119" actId="14100"/>
          <ac:cxnSpMkLst>
            <pc:docMk/>
            <pc:sldMk cId="4158318354" sldId="2146846405"/>
            <ac:cxnSpMk id="32" creationId="{4CCCEBD3-DE28-77A4-5107-F7A7832F5360}"/>
          </ac:cxnSpMkLst>
        </pc:cxnChg>
        <pc:cxnChg chg="mod">
          <ac:chgData name="Ariel Wang" userId="d2c7e74e-eae9-4734-a288-19d4dc96c996" providerId="ADAL" clId="{6707D0DE-09F7-DB41-A5DA-F59333012196}" dt="2023-07-28T03:45:18.925" v="3120" actId="14100"/>
          <ac:cxnSpMkLst>
            <pc:docMk/>
            <pc:sldMk cId="4158318354" sldId="2146846405"/>
            <ac:cxnSpMk id="34" creationId="{08419CF4-CBAD-281D-882F-893CEFAF773B}"/>
          </ac:cxnSpMkLst>
        </pc:cxnChg>
      </pc:sldChg>
      <pc:sldChg chg="addSp delSp modSp mod modNotesTx">
        <pc:chgData name="Ariel Wang" userId="d2c7e74e-eae9-4734-a288-19d4dc96c996" providerId="ADAL" clId="{6707D0DE-09F7-DB41-A5DA-F59333012196}" dt="2023-07-28T03:47:00.938" v="3148" actId="122"/>
        <pc:sldMkLst>
          <pc:docMk/>
          <pc:sldMk cId="3999969760" sldId="2146846407"/>
        </pc:sldMkLst>
        <pc:spChg chg="mod">
          <ac:chgData name="Ariel Wang" userId="d2c7e74e-eae9-4734-a288-19d4dc96c996" providerId="ADAL" clId="{6707D0DE-09F7-DB41-A5DA-F59333012196}" dt="2023-07-27T17:57:34.727" v="1118" actId="20577"/>
          <ac:spMkLst>
            <pc:docMk/>
            <pc:sldMk cId="3999969760" sldId="2146846407"/>
            <ac:spMk id="3" creationId="{A9B6433A-3584-BD51-F3B5-89DCB9E2F96D}"/>
          </ac:spMkLst>
        </pc:spChg>
        <pc:spChg chg="mod">
          <ac:chgData name="Ariel Wang" userId="d2c7e74e-eae9-4734-a288-19d4dc96c996" providerId="ADAL" clId="{6707D0DE-09F7-DB41-A5DA-F59333012196}" dt="2023-07-28T03:47:00.938" v="3148" actId="122"/>
          <ac:spMkLst>
            <pc:docMk/>
            <pc:sldMk cId="3999969760" sldId="2146846407"/>
            <ac:spMk id="5" creationId="{54743D17-A5AC-78AC-4269-DC8CCBE26C14}"/>
          </ac:spMkLst>
        </pc:spChg>
        <pc:spChg chg="mod">
          <ac:chgData name="Ariel Wang" userId="d2c7e74e-eae9-4734-a288-19d4dc96c996" providerId="ADAL" clId="{6707D0DE-09F7-DB41-A5DA-F59333012196}" dt="2023-07-28T03:46:14.239" v="3122" actId="20577"/>
          <ac:spMkLst>
            <pc:docMk/>
            <pc:sldMk cId="3999969760" sldId="2146846407"/>
            <ac:spMk id="6" creationId="{26A6E82C-D720-1EE2-53BC-CEC07024E9CA}"/>
          </ac:spMkLst>
        </pc:spChg>
        <pc:spChg chg="mod">
          <ac:chgData name="Ariel Wang" userId="d2c7e74e-eae9-4734-a288-19d4dc96c996" providerId="ADAL" clId="{6707D0DE-09F7-DB41-A5DA-F59333012196}" dt="2023-07-28T03:45:58.436" v="3121" actId="20577"/>
          <ac:spMkLst>
            <pc:docMk/>
            <pc:sldMk cId="3999969760" sldId="2146846407"/>
            <ac:spMk id="7" creationId="{75F947B2-123B-E347-59AC-F0AB539999A7}"/>
          </ac:spMkLst>
        </pc:spChg>
        <pc:spChg chg="mod">
          <ac:chgData name="Ariel Wang" userId="d2c7e74e-eae9-4734-a288-19d4dc96c996" providerId="ADAL" clId="{6707D0DE-09F7-DB41-A5DA-F59333012196}" dt="2023-07-28T03:46:35.025" v="3131" actId="20577"/>
          <ac:spMkLst>
            <pc:docMk/>
            <pc:sldMk cId="3999969760" sldId="2146846407"/>
            <ac:spMk id="9" creationId="{DCE765C9-F866-A10C-05BC-B0F5CF7D4FA9}"/>
          </ac:spMkLst>
        </pc:spChg>
        <pc:picChg chg="add del mod">
          <ac:chgData name="Ariel Wang" userId="d2c7e74e-eae9-4734-a288-19d4dc96c996" providerId="ADAL" clId="{6707D0DE-09F7-DB41-A5DA-F59333012196}" dt="2023-07-26T23:14:24.605" v="983" actId="478"/>
          <ac:picMkLst>
            <pc:docMk/>
            <pc:sldMk cId="3999969760" sldId="2146846407"/>
            <ac:picMk id="4" creationId="{7CF91639-33AC-BDDD-0224-6D11C4B0C940}"/>
          </ac:picMkLst>
        </pc:picChg>
        <pc:picChg chg="add mod">
          <ac:chgData name="Ariel Wang" userId="d2c7e74e-eae9-4734-a288-19d4dc96c996" providerId="ADAL" clId="{6707D0DE-09F7-DB41-A5DA-F59333012196}" dt="2023-07-26T23:03:25.518" v="944" actId="1076"/>
          <ac:picMkLst>
            <pc:docMk/>
            <pc:sldMk cId="3999969760" sldId="2146846407"/>
            <ac:picMk id="1026" creationId="{EFAF2E77-8CEC-C19A-2F55-F19157E9D271}"/>
          </ac:picMkLst>
        </pc:picChg>
        <pc:picChg chg="add mod">
          <ac:chgData name="Ariel Wang" userId="d2c7e74e-eae9-4734-a288-19d4dc96c996" providerId="ADAL" clId="{6707D0DE-09F7-DB41-A5DA-F59333012196}" dt="2023-07-26T23:04:38.983" v="950" actId="1076"/>
          <ac:picMkLst>
            <pc:docMk/>
            <pc:sldMk cId="3999969760" sldId="2146846407"/>
            <ac:picMk id="1028" creationId="{FA4DE5DB-293A-BB1F-C2A6-80419B433D04}"/>
          </ac:picMkLst>
        </pc:picChg>
      </pc:sldChg>
      <pc:sldChg chg="addSp delSp modSp mod addCm modCm">
        <pc:chgData name="Ariel Wang" userId="d2c7e74e-eae9-4734-a288-19d4dc96c996" providerId="ADAL" clId="{6707D0DE-09F7-DB41-A5DA-F59333012196}" dt="2023-07-26T04:23:41.072" v="417"/>
        <pc:sldMkLst>
          <pc:docMk/>
          <pc:sldMk cId="1472277841" sldId="2146846408"/>
        </pc:sldMkLst>
        <pc:spChg chg="add del">
          <ac:chgData name="Ariel Wang" userId="d2c7e74e-eae9-4734-a288-19d4dc96c996" providerId="ADAL" clId="{6707D0DE-09F7-DB41-A5DA-F59333012196}" dt="2023-07-25T17:40:04.333" v="157" actId="478"/>
          <ac:spMkLst>
            <pc:docMk/>
            <pc:sldMk cId="1472277841" sldId="2146846408"/>
            <ac:spMk id="5" creationId="{824CF96C-2EDE-BD49-86D2-A7A0C1D72611}"/>
          </ac:spMkLst>
        </pc:spChg>
        <pc:spChg chg="add mod">
          <ac:chgData name="Ariel Wang" userId="d2c7e74e-eae9-4734-a288-19d4dc96c996" providerId="ADAL" clId="{6707D0DE-09F7-DB41-A5DA-F59333012196}" dt="2023-07-25T17:43:55.422" v="375" actId="1076"/>
          <ac:spMkLst>
            <pc:docMk/>
            <pc:sldMk cId="1472277841" sldId="2146846408"/>
            <ac:spMk id="6" creationId="{6205F78A-3EBE-BE3F-1846-62A2F956B4B0}"/>
          </ac:spMkLst>
        </pc:spChg>
        <pc:spChg chg="add mod">
          <ac:chgData name="Ariel Wang" userId="d2c7e74e-eae9-4734-a288-19d4dc96c996" providerId="ADAL" clId="{6707D0DE-09F7-DB41-A5DA-F59333012196}" dt="2023-07-25T17:43:55.422" v="375" actId="1076"/>
          <ac:spMkLst>
            <pc:docMk/>
            <pc:sldMk cId="1472277841" sldId="2146846408"/>
            <ac:spMk id="7" creationId="{72ECC0E0-7197-AA3F-131F-5E088B6EC931}"/>
          </ac:spMkLst>
        </pc:spChg>
        <pc:spChg chg="add mod">
          <ac:chgData name="Ariel Wang" userId="d2c7e74e-eae9-4734-a288-19d4dc96c996" providerId="ADAL" clId="{6707D0DE-09F7-DB41-A5DA-F59333012196}" dt="2023-07-25T17:43:55.422" v="375" actId="1076"/>
          <ac:spMkLst>
            <pc:docMk/>
            <pc:sldMk cId="1472277841" sldId="2146846408"/>
            <ac:spMk id="8" creationId="{ECE8581D-9800-4DDB-D3A0-7B75B8FB1B46}"/>
          </ac:spMkLst>
        </pc:spChg>
        <pc:spChg chg="add mod">
          <ac:chgData name="Ariel Wang" userId="d2c7e74e-eae9-4734-a288-19d4dc96c996" providerId="ADAL" clId="{6707D0DE-09F7-DB41-A5DA-F59333012196}" dt="2023-07-25T17:43:55.422" v="375" actId="1076"/>
          <ac:spMkLst>
            <pc:docMk/>
            <pc:sldMk cId="1472277841" sldId="2146846408"/>
            <ac:spMk id="10" creationId="{7AE5803D-2B8D-47BB-A12F-C85D3779021D}"/>
          </ac:spMkLst>
        </pc:spChg>
        <pc:spChg chg="add del">
          <ac:chgData name="Ariel Wang" userId="d2c7e74e-eae9-4734-a288-19d4dc96c996" providerId="ADAL" clId="{6707D0DE-09F7-DB41-A5DA-F59333012196}" dt="2023-07-25T17:41:31.172" v="254" actId="478"/>
          <ac:spMkLst>
            <pc:docMk/>
            <pc:sldMk cId="1472277841" sldId="2146846408"/>
            <ac:spMk id="11" creationId="{DC0B38C3-5BF4-9898-338E-C031A526CAE9}"/>
          </ac:spMkLst>
        </pc:spChg>
        <pc:spChg chg="add mod">
          <ac:chgData name="Ariel Wang" userId="d2c7e74e-eae9-4734-a288-19d4dc96c996" providerId="ADAL" clId="{6707D0DE-09F7-DB41-A5DA-F59333012196}" dt="2023-07-25T17:45:25.775" v="409" actId="1076"/>
          <ac:spMkLst>
            <pc:docMk/>
            <pc:sldMk cId="1472277841" sldId="2146846408"/>
            <ac:spMk id="18" creationId="{AC3CBFA3-7FA8-85D5-7DE8-59D405D204C9}"/>
          </ac:spMkLst>
        </pc:spChg>
        <pc:spChg chg="add mod">
          <ac:chgData name="Ariel Wang" userId="d2c7e74e-eae9-4734-a288-19d4dc96c996" providerId="ADAL" clId="{6707D0DE-09F7-DB41-A5DA-F59333012196}" dt="2023-07-25T17:45:17.811" v="405" actId="1076"/>
          <ac:spMkLst>
            <pc:docMk/>
            <pc:sldMk cId="1472277841" sldId="2146846408"/>
            <ac:spMk id="19" creationId="{9A33764A-9917-A07B-92E1-E66FD52A4CA8}"/>
          </ac:spMkLst>
        </pc:spChg>
        <pc:spChg chg="add mod">
          <ac:chgData name="Ariel Wang" userId="d2c7e74e-eae9-4734-a288-19d4dc96c996" providerId="ADAL" clId="{6707D0DE-09F7-DB41-A5DA-F59333012196}" dt="2023-07-25T17:45:36.183" v="415" actId="1076"/>
          <ac:spMkLst>
            <pc:docMk/>
            <pc:sldMk cId="1472277841" sldId="2146846408"/>
            <ac:spMk id="20" creationId="{1A58CBB7-A824-507D-EDB4-6203731FB829}"/>
          </ac:spMkLst>
        </pc:spChg>
        <pc:spChg chg="add mod">
          <ac:chgData name="Ariel Wang" userId="d2c7e74e-eae9-4734-a288-19d4dc96c996" providerId="ADAL" clId="{6707D0DE-09F7-DB41-A5DA-F59333012196}" dt="2023-07-25T17:45:24.300" v="408" actId="1076"/>
          <ac:spMkLst>
            <pc:docMk/>
            <pc:sldMk cId="1472277841" sldId="2146846408"/>
            <ac:spMk id="21" creationId="{10711508-E5D8-8433-608C-8A0442536AA0}"/>
          </ac:spMkLst>
        </pc:spChg>
        <pc:spChg chg="add mod">
          <ac:chgData name="Ariel Wang" userId="d2c7e74e-eae9-4734-a288-19d4dc96c996" providerId="ADAL" clId="{6707D0DE-09F7-DB41-A5DA-F59333012196}" dt="2023-07-25T17:45:28.970" v="412" actId="1076"/>
          <ac:spMkLst>
            <pc:docMk/>
            <pc:sldMk cId="1472277841" sldId="2146846408"/>
            <ac:spMk id="22" creationId="{04D66BED-2E2E-6C69-3EB8-91924493A7F4}"/>
          </ac:spMkLst>
        </pc:spChg>
        <pc:spChg chg="add mod">
          <ac:chgData name="Ariel Wang" userId="d2c7e74e-eae9-4734-a288-19d4dc96c996" providerId="ADAL" clId="{6707D0DE-09F7-DB41-A5DA-F59333012196}" dt="2023-07-25T17:45:33.082" v="414" actId="1076"/>
          <ac:spMkLst>
            <pc:docMk/>
            <pc:sldMk cId="1472277841" sldId="2146846408"/>
            <ac:spMk id="23" creationId="{4FA4E587-8557-4C2C-33FA-2D504E9E0022}"/>
          </ac:spMkLst>
        </pc:spChg>
        <pc:spChg chg="add mod">
          <ac:chgData name="Ariel Wang" userId="d2c7e74e-eae9-4734-a288-19d4dc96c996" providerId="ADAL" clId="{6707D0DE-09F7-DB41-A5DA-F59333012196}" dt="2023-07-25T17:45:21.012" v="406" actId="1076"/>
          <ac:spMkLst>
            <pc:docMk/>
            <pc:sldMk cId="1472277841" sldId="2146846408"/>
            <ac:spMk id="24" creationId="{0336DF13-A7D7-E236-F05F-883A26A906F8}"/>
          </ac:spMkLst>
        </pc:spChg>
        <pc:spChg chg="add mod">
          <ac:chgData name="Ariel Wang" userId="d2c7e74e-eae9-4734-a288-19d4dc96c996" providerId="ADAL" clId="{6707D0DE-09F7-DB41-A5DA-F59333012196}" dt="2023-07-25T17:45:22.772" v="407" actId="1076"/>
          <ac:spMkLst>
            <pc:docMk/>
            <pc:sldMk cId="1472277841" sldId="2146846408"/>
            <ac:spMk id="25" creationId="{3A0BA5D7-145C-A133-5207-240BB0E7C960}"/>
          </ac:spMkLst>
        </pc:spChg>
        <pc:spChg chg="add mod">
          <ac:chgData name="Ariel Wang" userId="d2c7e74e-eae9-4734-a288-19d4dc96c996" providerId="ADAL" clId="{6707D0DE-09F7-DB41-A5DA-F59333012196}" dt="2023-07-25T17:45:12.734" v="404" actId="17032"/>
          <ac:spMkLst>
            <pc:docMk/>
            <pc:sldMk cId="1472277841" sldId="2146846408"/>
            <ac:spMk id="26" creationId="{77E6E9CB-1D46-4F29-96F4-91A9AA5483D1}"/>
          </ac:spMkLst>
        </pc:spChg>
        <pc:graphicFrameChg chg="add del mod modGraphic">
          <ac:chgData name="Ariel Wang" userId="d2c7e74e-eae9-4734-a288-19d4dc96c996" providerId="ADAL" clId="{6707D0DE-09F7-DB41-A5DA-F59333012196}" dt="2023-07-25T17:38:37.928" v="155" actId="478"/>
          <ac:graphicFrameMkLst>
            <pc:docMk/>
            <pc:sldMk cId="1472277841" sldId="2146846408"/>
            <ac:graphicFrameMk id="4" creationId="{3F758ED4-AB1C-26C4-6300-A71A49638DC2}"/>
          </ac:graphicFrameMkLst>
        </pc:graphicFrameChg>
        <pc:cxnChg chg="add mod">
          <ac:chgData name="Ariel Wang" userId="d2c7e74e-eae9-4734-a288-19d4dc96c996" providerId="ADAL" clId="{6707D0DE-09F7-DB41-A5DA-F59333012196}" dt="2023-07-25T17:43:55.422" v="375" actId="1076"/>
          <ac:cxnSpMkLst>
            <pc:docMk/>
            <pc:sldMk cId="1472277841" sldId="2146846408"/>
            <ac:cxnSpMk id="13" creationId="{34C73A0B-BFB5-348F-BF8B-469CCC22122B}"/>
          </ac:cxnSpMkLst>
        </pc:cxnChg>
        <pc:cxnChg chg="add mod">
          <ac:chgData name="Ariel Wang" userId="d2c7e74e-eae9-4734-a288-19d4dc96c996" providerId="ADAL" clId="{6707D0DE-09F7-DB41-A5DA-F59333012196}" dt="2023-07-25T17:43:55.422" v="375" actId="1076"/>
          <ac:cxnSpMkLst>
            <pc:docMk/>
            <pc:sldMk cId="1472277841" sldId="2146846408"/>
            <ac:cxnSpMk id="15" creationId="{1B41B782-518C-587F-96EC-6F9C00E62882}"/>
          </ac:cxnSpMkLst>
        </pc:cxnChg>
        <pc:cxnChg chg="add mod">
          <ac:chgData name="Ariel Wang" userId="d2c7e74e-eae9-4734-a288-19d4dc96c996" providerId="ADAL" clId="{6707D0DE-09F7-DB41-A5DA-F59333012196}" dt="2023-07-25T17:43:55.422" v="375" actId="1076"/>
          <ac:cxnSpMkLst>
            <pc:docMk/>
            <pc:sldMk cId="1472277841" sldId="2146846408"/>
            <ac:cxnSpMk id="17" creationId="{07BEA832-5C77-7292-901E-098AE5481475}"/>
          </ac:cxnSpMkLst>
        </pc:cxnChg>
      </pc:sldChg>
      <pc:sldChg chg="modSp mod">
        <pc:chgData name="Ariel Wang" userId="d2c7e74e-eae9-4734-a288-19d4dc96c996" providerId="ADAL" clId="{6707D0DE-09F7-DB41-A5DA-F59333012196}" dt="2023-07-28T03:51:56.755" v="3185" actId="115"/>
        <pc:sldMkLst>
          <pc:docMk/>
          <pc:sldMk cId="1983412115" sldId="2146846412"/>
        </pc:sldMkLst>
        <pc:spChg chg="mod">
          <ac:chgData name="Ariel Wang" userId="d2c7e74e-eae9-4734-a288-19d4dc96c996" providerId="ADAL" clId="{6707D0DE-09F7-DB41-A5DA-F59333012196}" dt="2023-07-28T03:51:56.755" v="3185" actId="115"/>
          <ac:spMkLst>
            <pc:docMk/>
            <pc:sldMk cId="1983412115" sldId="2146846412"/>
            <ac:spMk id="2" creationId="{90C96AA1-6C12-6623-0754-4E4DD20BEE5B}"/>
          </ac:spMkLst>
        </pc:spChg>
        <pc:spChg chg="mod">
          <ac:chgData name="Ariel Wang" userId="d2c7e74e-eae9-4734-a288-19d4dc96c996" providerId="ADAL" clId="{6707D0DE-09F7-DB41-A5DA-F59333012196}" dt="2023-07-27T20:57:03.955" v="3060" actId="20577"/>
          <ac:spMkLst>
            <pc:docMk/>
            <pc:sldMk cId="1983412115" sldId="2146846412"/>
            <ac:spMk id="9" creationId="{DCE765C9-F866-A10C-05BC-B0F5CF7D4FA9}"/>
          </ac:spMkLst>
        </pc:spChg>
      </pc:sldChg>
      <pc:sldChg chg="addCm">
        <pc:chgData name="Ariel Wang" userId="d2c7e74e-eae9-4734-a288-19d4dc96c996" providerId="ADAL" clId="{6707D0DE-09F7-DB41-A5DA-F59333012196}" dt="2023-07-26T04:24:33.231" v="418"/>
        <pc:sldMkLst>
          <pc:docMk/>
          <pc:sldMk cId="501913928" sldId="2146846415"/>
        </pc:sldMkLst>
      </pc:sldChg>
      <pc:sldChg chg="modSp">
        <pc:chgData name="Ariel Wang" userId="d2c7e74e-eae9-4734-a288-19d4dc96c996" providerId="ADAL" clId="{6707D0DE-09F7-DB41-A5DA-F59333012196}" dt="2023-07-27T19:13:21.313" v="3053" actId="20577"/>
        <pc:sldMkLst>
          <pc:docMk/>
          <pc:sldMk cId="3091098860" sldId="2146846420"/>
        </pc:sldMkLst>
        <pc:spChg chg="mod">
          <ac:chgData name="Ariel Wang" userId="d2c7e74e-eae9-4734-a288-19d4dc96c996" providerId="ADAL" clId="{6707D0DE-09F7-DB41-A5DA-F59333012196}" dt="2023-07-27T19:13:21.313" v="3053" actId="20577"/>
          <ac:spMkLst>
            <pc:docMk/>
            <pc:sldMk cId="3091098860" sldId="2146846420"/>
            <ac:spMk id="10" creationId="{0493CA3C-A4A5-7D4C-211C-75EC0115E151}"/>
          </ac:spMkLst>
        </pc:spChg>
      </pc:sldChg>
      <pc:sldChg chg="modSp mod">
        <pc:chgData name="Ariel Wang" userId="d2c7e74e-eae9-4734-a288-19d4dc96c996" providerId="ADAL" clId="{6707D0DE-09F7-DB41-A5DA-F59333012196}" dt="2023-07-25T16:27:53.080" v="31" actId="27636"/>
        <pc:sldMkLst>
          <pc:docMk/>
          <pc:sldMk cId="1473364542" sldId="2146846421"/>
        </pc:sldMkLst>
        <pc:spChg chg="mod">
          <ac:chgData name="Ariel Wang" userId="d2c7e74e-eae9-4734-a288-19d4dc96c996" providerId="ADAL" clId="{6707D0DE-09F7-DB41-A5DA-F59333012196}" dt="2023-07-25T16:27:53.080" v="31" actId="27636"/>
          <ac:spMkLst>
            <pc:docMk/>
            <pc:sldMk cId="1473364542" sldId="2146846421"/>
            <ac:spMk id="9" creationId="{DCE765C9-F866-A10C-05BC-B0F5CF7D4FA9}"/>
          </ac:spMkLst>
        </pc:spChg>
      </pc:sldChg>
      <pc:sldChg chg="modSp mod">
        <pc:chgData name="Ariel Wang" userId="d2c7e74e-eae9-4734-a288-19d4dc96c996" providerId="ADAL" clId="{6707D0DE-09F7-DB41-A5DA-F59333012196}" dt="2023-07-28T03:39:52.995" v="3096" actId="20577"/>
        <pc:sldMkLst>
          <pc:docMk/>
          <pc:sldMk cId="2294886516" sldId="2146846426"/>
        </pc:sldMkLst>
        <pc:spChg chg="mod">
          <ac:chgData name="Ariel Wang" userId="d2c7e74e-eae9-4734-a288-19d4dc96c996" providerId="ADAL" clId="{6707D0DE-09F7-DB41-A5DA-F59333012196}" dt="2023-07-28T03:39:52.995" v="3096" actId="20577"/>
          <ac:spMkLst>
            <pc:docMk/>
            <pc:sldMk cId="2294886516" sldId="2146846426"/>
            <ac:spMk id="3" creationId="{6EF2534A-6427-DD43-A57B-D7EDEEA6901D}"/>
          </ac:spMkLst>
        </pc:spChg>
      </pc:sldChg>
      <pc:sldChg chg="modSp mod">
        <pc:chgData name="Ariel Wang" userId="d2c7e74e-eae9-4734-a288-19d4dc96c996" providerId="ADAL" clId="{6707D0DE-09F7-DB41-A5DA-F59333012196}" dt="2023-07-28T03:40:52.499" v="3104" actId="20577"/>
        <pc:sldMkLst>
          <pc:docMk/>
          <pc:sldMk cId="2148413348" sldId="2146846428"/>
        </pc:sldMkLst>
        <pc:spChg chg="mod">
          <ac:chgData name="Ariel Wang" userId="d2c7e74e-eae9-4734-a288-19d4dc96c996" providerId="ADAL" clId="{6707D0DE-09F7-DB41-A5DA-F59333012196}" dt="2023-07-28T03:40:52.499" v="3104" actId="20577"/>
          <ac:spMkLst>
            <pc:docMk/>
            <pc:sldMk cId="2148413348" sldId="2146846428"/>
            <ac:spMk id="3" creationId="{CF2E21D2-7571-4C77-B831-1A36117C1D1B}"/>
          </ac:spMkLst>
        </pc:spChg>
      </pc:sldChg>
      <pc:sldChg chg="modSp mod">
        <pc:chgData name="Ariel Wang" userId="d2c7e74e-eae9-4734-a288-19d4dc96c996" providerId="ADAL" clId="{6707D0DE-09F7-DB41-A5DA-F59333012196}" dt="2023-07-25T16:27:53.061" v="30" actId="27636"/>
        <pc:sldMkLst>
          <pc:docMk/>
          <pc:sldMk cId="4234255154" sldId="2146846429"/>
        </pc:sldMkLst>
        <pc:spChg chg="mod">
          <ac:chgData name="Ariel Wang" userId="d2c7e74e-eae9-4734-a288-19d4dc96c996" providerId="ADAL" clId="{6707D0DE-09F7-DB41-A5DA-F59333012196}" dt="2023-07-25T16:27:53.061" v="30" actId="27636"/>
          <ac:spMkLst>
            <pc:docMk/>
            <pc:sldMk cId="4234255154" sldId="2146846429"/>
            <ac:spMk id="9" creationId="{DCE765C9-F866-A10C-05BC-B0F5CF7D4FA9}"/>
          </ac:spMkLst>
        </pc:spChg>
      </pc:sldChg>
    </pc:docChg>
  </pc:docChgLst>
  <pc:docChgLst>
    <pc:chgData name="Ariel Wang" userId="d2c7e74e-eae9-4734-a288-19d4dc96c996" providerId="ADAL" clId="{805E2D26-AD9F-4F48-8080-6805F98BF371}"/>
    <pc:docChg chg="modSld">
      <pc:chgData name="Ariel Wang" userId="d2c7e74e-eae9-4734-a288-19d4dc96c996" providerId="ADAL" clId="{805E2D26-AD9F-4F48-8080-6805F98BF371}" dt="2023-07-31T20:22:15.687" v="6" actId="14100"/>
      <pc:docMkLst>
        <pc:docMk/>
      </pc:docMkLst>
      <pc:sldChg chg="modSp mod">
        <pc:chgData name="Ariel Wang" userId="d2c7e74e-eae9-4734-a288-19d4dc96c996" providerId="ADAL" clId="{805E2D26-AD9F-4F48-8080-6805F98BF371}" dt="2023-07-28T22:13:12.937" v="0" actId="14100"/>
        <pc:sldMkLst>
          <pc:docMk/>
          <pc:sldMk cId="268688356" sldId="2146846385"/>
        </pc:sldMkLst>
        <pc:spChg chg="mod">
          <ac:chgData name="Ariel Wang" userId="d2c7e74e-eae9-4734-a288-19d4dc96c996" providerId="ADAL" clId="{805E2D26-AD9F-4F48-8080-6805F98BF371}" dt="2023-07-28T22:13:12.937" v="0" actId="14100"/>
          <ac:spMkLst>
            <pc:docMk/>
            <pc:sldMk cId="268688356" sldId="2146846385"/>
            <ac:spMk id="6" creationId="{02E82B1F-8C1E-18D3-20EF-F680A1F852F8}"/>
          </ac:spMkLst>
        </pc:spChg>
      </pc:sldChg>
      <pc:sldChg chg="modSp mod">
        <pc:chgData name="Ariel Wang" userId="d2c7e74e-eae9-4734-a288-19d4dc96c996" providerId="ADAL" clId="{805E2D26-AD9F-4F48-8080-6805F98BF371}" dt="2023-07-31T20:22:15.687" v="6" actId="14100"/>
        <pc:sldMkLst>
          <pc:docMk/>
          <pc:sldMk cId="4158318354" sldId="2146846405"/>
        </pc:sldMkLst>
        <pc:cxnChg chg="mod">
          <ac:chgData name="Ariel Wang" userId="d2c7e74e-eae9-4734-a288-19d4dc96c996" providerId="ADAL" clId="{805E2D26-AD9F-4F48-8080-6805F98BF371}" dt="2023-07-31T20:22:15.687" v="6" actId="14100"/>
          <ac:cxnSpMkLst>
            <pc:docMk/>
            <pc:sldMk cId="4158318354" sldId="2146846405"/>
            <ac:cxnSpMk id="10" creationId="{954496D0-487D-9A4C-B9D9-751FE69133E5}"/>
          </ac:cxnSpMkLst>
        </pc:cxnChg>
      </pc:sldChg>
      <pc:sldChg chg="modSp mod modCm">
        <pc:chgData name="Ariel Wang" userId="d2c7e74e-eae9-4734-a288-19d4dc96c996" providerId="ADAL" clId="{805E2D26-AD9F-4F48-8080-6805F98BF371}" dt="2023-07-31T20:15:49.386" v="5" actId="20577"/>
        <pc:sldMkLst>
          <pc:docMk/>
          <pc:sldMk cId="3999969760" sldId="2146846407"/>
        </pc:sldMkLst>
        <pc:spChg chg="mod">
          <ac:chgData name="Ariel Wang" userId="d2c7e74e-eae9-4734-a288-19d4dc96c996" providerId="ADAL" clId="{805E2D26-AD9F-4F48-8080-6805F98BF371}" dt="2023-07-31T20:15:47.199" v="4" actId="20577"/>
          <ac:spMkLst>
            <pc:docMk/>
            <pc:sldMk cId="3999969760" sldId="2146846407"/>
            <ac:spMk id="5" creationId="{54743D17-A5AC-78AC-4269-DC8CCBE26C14}"/>
          </ac:spMkLst>
        </pc:spChg>
        <pc:spChg chg="mod">
          <ac:chgData name="Ariel Wang" userId="d2c7e74e-eae9-4734-a288-19d4dc96c996" providerId="ADAL" clId="{805E2D26-AD9F-4F48-8080-6805F98BF371}" dt="2023-07-31T20:15:49.386" v="5" actId="20577"/>
          <ac:spMkLst>
            <pc:docMk/>
            <pc:sldMk cId="3999969760" sldId="2146846407"/>
            <ac:spMk id="6" creationId="{26A6E82C-D720-1EE2-53BC-CEC07024E9CA}"/>
          </ac:spMkLst>
        </pc:spChg>
      </pc:sldChg>
    </pc:docChg>
  </pc:docChgLst>
  <pc:docChgLst>
    <pc:chgData name="Nan An" userId="S::nan.an@bayer.com::0df20ddb-c53b-42a8-a1c6-afbff58790ff" providerId="AD" clId="Web-{75F37FD2-A1ED-EC78-0A47-4C9F9CA42B83}"/>
    <pc:docChg chg="modSld sldOrd">
      <pc:chgData name="Nan An" userId="S::nan.an@bayer.com::0df20ddb-c53b-42a8-a1c6-afbff58790ff" providerId="AD" clId="Web-{75F37FD2-A1ED-EC78-0A47-4C9F9CA42B83}" dt="2023-07-28T19:54:07.233" v="119" actId="20577"/>
      <pc:docMkLst>
        <pc:docMk/>
      </pc:docMkLst>
      <pc:sldChg chg="modSp">
        <pc:chgData name="Nan An" userId="S::nan.an@bayer.com::0df20ddb-c53b-42a8-a1c6-afbff58790ff" providerId="AD" clId="Web-{75F37FD2-A1ED-EC78-0A47-4C9F9CA42B83}" dt="2023-07-28T19:19:25.799" v="11" actId="20577"/>
        <pc:sldMkLst>
          <pc:docMk/>
          <pc:sldMk cId="592699982" sldId="2146846382"/>
        </pc:sldMkLst>
        <pc:spChg chg="mod">
          <ac:chgData name="Nan An" userId="S::nan.an@bayer.com::0df20ddb-c53b-42a8-a1c6-afbff58790ff" providerId="AD" clId="Web-{75F37FD2-A1ED-EC78-0A47-4C9F9CA42B83}" dt="2023-07-28T19:19:25.799" v="11" actId="20577"/>
          <ac:spMkLst>
            <pc:docMk/>
            <pc:sldMk cId="592699982" sldId="2146846382"/>
            <ac:spMk id="9" creationId="{DCE765C9-F866-A10C-05BC-B0F5CF7D4FA9}"/>
          </ac:spMkLst>
        </pc:spChg>
      </pc:sldChg>
      <pc:sldChg chg="modSp">
        <pc:chgData name="Nan An" userId="S::nan.an@bayer.com::0df20ddb-c53b-42a8-a1c6-afbff58790ff" providerId="AD" clId="Web-{75F37FD2-A1ED-EC78-0A47-4C9F9CA42B83}" dt="2023-07-28T19:18:19.828" v="8" actId="20577"/>
        <pc:sldMkLst>
          <pc:docMk/>
          <pc:sldMk cId="3666602129" sldId="2146846383"/>
        </pc:sldMkLst>
        <pc:spChg chg="mod">
          <ac:chgData name="Nan An" userId="S::nan.an@bayer.com::0df20ddb-c53b-42a8-a1c6-afbff58790ff" providerId="AD" clId="Web-{75F37FD2-A1ED-EC78-0A47-4C9F9CA42B83}" dt="2023-07-28T19:18:19.828" v="8" actId="20577"/>
          <ac:spMkLst>
            <pc:docMk/>
            <pc:sldMk cId="3666602129" sldId="2146846383"/>
            <ac:spMk id="9" creationId="{DCE765C9-F866-A10C-05BC-B0F5CF7D4FA9}"/>
          </ac:spMkLst>
        </pc:spChg>
      </pc:sldChg>
      <pc:sldChg chg="modSp">
        <pc:chgData name="Nan An" userId="S::nan.an@bayer.com::0df20ddb-c53b-42a8-a1c6-afbff58790ff" providerId="AD" clId="Web-{75F37FD2-A1ED-EC78-0A47-4C9F9CA42B83}" dt="2023-07-28T19:22:03.773" v="27" actId="1076"/>
        <pc:sldMkLst>
          <pc:docMk/>
          <pc:sldMk cId="268688356" sldId="2146846385"/>
        </pc:sldMkLst>
        <pc:spChg chg="mod">
          <ac:chgData name="Nan An" userId="S::nan.an@bayer.com::0df20ddb-c53b-42a8-a1c6-afbff58790ff" providerId="AD" clId="Web-{75F37FD2-A1ED-EC78-0A47-4C9F9CA42B83}" dt="2023-07-28T19:22:03.773" v="27" actId="1076"/>
          <ac:spMkLst>
            <pc:docMk/>
            <pc:sldMk cId="268688356" sldId="2146846385"/>
            <ac:spMk id="9" creationId="{DCE765C9-F866-A10C-05BC-B0F5CF7D4FA9}"/>
          </ac:spMkLst>
        </pc:spChg>
      </pc:sldChg>
      <pc:sldChg chg="modSp">
        <pc:chgData name="Nan An" userId="S::nan.an@bayer.com::0df20ddb-c53b-42a8-a1c6-afbff58790ff" providerId="AD" clId="Web-{75F37FD2-A1ED-EC78-0A47-4C9F9CA42B83}" dt="2023-07-28T19:29:35.868" v="29" actId="20577"/>
        <pc:sldMkLst>
          <pc:docMk/>
          <pc:sldMk cId="3299819554" sldId="2146846386"/>
        </pc:sldMkLst>
        <pc:spChg chg="mod">
          <ac:chgData name="Nan An" userId="S::nan.an@bayer.com::0df20ddb-c53b-42a8-a1c6-afbff58790ff" providerId="AD" clId="Web-{75F37FD2-A1ED-EC78-0A47-4C9F9CA42B83}" dt="2023-07-28T19:29:35.868" v="29" actId="20577"/>
          <ac:spMkLst>
            <pc:docMk/>
            <pc:sldMk cId="3299819554" sldId="2146846386"/>
            <ac:spMk id="4" creationId="{6E725962-AA6E-3764-10EC-09E349BF7BE0}"/>
          </ac:spMkLst>
        </pc:spChg>
      </pc:sldChg>
      <pc:sldChg chg="addSp modSp addAnim">
        <pc:chgData name="Nan An" userId="S::nan.an@bayer.com::0df20ddb-c53b-42a8-a1c6-afbff58790ff" providerId="AD" clId="Web-{75F37FD2-A1ED-EC78-0A47-4C9F9CA42B83}" dt="2023-07-28T19:34:58.926" v="65"/>
        <pc:sldMkLst>
          <pc:docMk/>
          <pc:sldMk cId="3028212172" sldId="2146846387"/>
        </pc:sldMkLst>
        <pc:spChg chg="add mod">
          <ac:chgData name="Nan An" userId="S::nan.an@bayer.com::0df20ddb-c53b-42a8-a1c6-afbff58790ff" providerId="AD" clId="Web-{75F37FD2-A1ED-EC78-0A47-4C9F9CA42B83}" dt="2023-07-28T19:34:52.660" v="64"/>
          <ac:spMkLst>
            <pc:docMk/>
            <pc:sldMk cId="3028212172" sldId="2146846387"/>
            <ac:spMk id="14" creationId="{2A6BA7AF-D205-E886-D912-9543E1E2B037}"/>
          </ac:spMkLst>
        </pc:spChg>
      </pc:sldChg>
      <pc:sldChg chg="modSp">
        <pc:chgData name="Nan An" userId="S::nan.an@bayer.com::0df20ddb-c53b-42a8-a1c6-afbff58790ff" providerId="AD" clId="Web-{75F37FD2-A1ED-EC78-0A47-4C9F9CA42B83}" dt="2023-07-28T19:40:06.031" v="87" actId="1076"/>
        <pc:sldMkLst>
          <pc:docMk/>
          <pc:sldMk cId="4158318354" sldId="2146846405"/>
        </pc:sldMkLst>
        <pc:spChg chg="mod">
          <ac:chgData name="Nan An" userId="S::nan.an@bayer.com::0df20ddb-c53b-42a8-a1c6-afbff58790ff" providerId="AD" clId="Web-{75F37FD2-A1ED-EC78-0A47-4C9F9CA42B83}" dt="2023-07-28T19:40:06.031" v="87" actId="1076"/>
          <ac:spMkLst>
            <pc:docMk/>
            <pc:sldMk cId="4158318354" sldId="2146846405"/>
            <ac:spMk id="29" creationId="{45C99936-BD6F-80BE-E422-684ACF5B6162}"/>
          </ac:spMkLst>
        </pc:spChg>
        <pc:cxnChg chg="mod">
          <ac:chgData name="Nan An" userId="S::nan.an@bayer.com::0df20ddb-c53b-42a8-a1c6-afbff58790ff" providerId="AD" clId="Web-{75F37FD2-A1ED-EC78-0A47-4C9F9CA42B83}" dt="2023-07-28T19:40:06.031" v="87" actId="1076"/>
          <ac:cxnSpMkLst>
            <pc:docMk/>
            <pc:sldMk cId="4158318354" sldId="2146846405"/>
            <ac:cxnSpMk id="34" creationId="{08419CF4-CBAD-281D-882F-893CEFAF773B}"/>
          </ac:cxnSpMkLst>
        </pc:cxnChg>
      </pc:sldChg>
      <pc:sldChg chg="modSp">
        <pc:chgData name="Nan An" userId="S::nan.an@bayer.com::0df20ddb-c53b-42a8-a1c6-afbff58790ff" providerId="AD" clId="Web-{75F37FD2-A1ED-EC78-0A47-4C9F9CA42B83}" dt="2023-07-28T19:49:45.130" v="104" actId="20577"/>
        <pc:sldMkLst>
          <pc:docMk/>
          <pc:sldMk cId="1968008277" sldId="2146846410"/>
        </pc:sldMkLst>
        <pc:spChg chg="mod">
          <ac:chgData name="Nan An" userId="S::nan.an@bayer.com::0df20ddb-c53b-42a8-a1c6-afbff58790ff" providerId="AD" clId="Web-{75F37FD2-A1ED-EC78-0A47-4C9F9CA42B83}" dt="2023-07-28T19:49:45.130" v="104" actId="20577"/>
          <ac:spMkLst>
            <pc:docMk/>
            <pc:sldMk cId="1968008277" sldId="2146846410"/>
            <ac:spMk id="13" creationId="{24CB8F9A-8CB9-451B-64A8-F41B39D37A3B}"/>
          </ac:spMkLst>
        </pc:spChg>
      </pc:sldChg>
      <pc:sldChg chg="modSp">
        <pc:chgData name="Nan An" userId="S::nan.an@bayer.com::0df20ddb-c53b-42a8-a1c6-afbff58790ff" providerId="AD" clId="Web-{75F37FD2-A1ED-EC78-0A47-4C9F9CA42B83}" dt="2023-07-28T19:54:07.233" v="119" actId="20577"/>
        <pc:sldMkLst>
          <pc:docMk/>
          <pc:sldMk cId="2340966377" sldId="2146846411"/>
        </pc:sldMkLst>
        <pc:spChg chg="mod">
          <ac:chgData name="Nan An" userId="S::nan.an@bayer.com::0df20ddb-c53b-42a8-a1c6-afbff58790ff" providerId="AD" clId="Web-{75F37FD2-A1ED-EC78-0A47-4C9F9CA42B83}" dt="2023-07-28T19:54:07.233" v="119" actId="20577"/>
          <ac:spMkLst>
            <pc:docMk/>
            <pc:sldMk cId="2340966377" sldId="2146846411"/>
            <ac:spMk id="2" creationId="{3686BA84-DCD5-9E45-57C1-47E4B920DEDD}"/>
          </ac:spMkLst>
        </pc:spChg>
      </pc:sldChg>
      <pc:sldChg chg="modSp">
        <pc:chgData name="Nan An" userId="S::nan.an@bayer.com::0df20ddb-c53b-42a8-a1c6-afbff58790ff" providerId="AD" clId="Web-{75F37FD2-A1ED-EC78-0A47-4C9F9CA42B83}" dt="2023-07-28T19:53:21.404" v="105" actId="20577"/>
        <pc:sldMkLst>
          <pc:docMk/>
          <pc:sldMk cId="2150827024" sldId="2146846414"/>
        </pc:sldMkLst>
        <pc:spChg chg="mod">
          <ac:chgData name="Nan An" userId="S::nan.an@bayer.com::0df20ddb-c53b-42a8-a1c6-afbff58790ff" providerId="AD" clId="Web-{75F37FD2-A1ED-EC78-0A47-4C9F9CA42B83}" dt="2023-07-28T19:53:21.404" v="105" actId="20577"/>
          <ac:spMkLst>
            <pc:docMk/>
            <pc:sldMk cId="2150827024" sldId="2146846414"/>
            <ac:spMk id="9" creationId="{DCE765C9-F866-A10C-05BC-B0F5CF7D4FA9}"/>
          </ac:spMkLst>
        </pc:spChg>
      </pc:sldChg>
      <pc:sldChg chg="modSp">
        <pc:chgData name="Nan An" userId="S::nan.an@bayer.com::0df20ddb-c53b-42a8-a1c6-afbff58790ff" providerId="AD" clId="Web-{75F37FD2-A1ED-EC78-0A47-4C9F9CA42B83}" dt="2023-07-28T19:32:07.873" v="61" actId="20577"/>
        <pc:sldMkLst>
          <pc:docMk/>
          <pc:sldMk cId="2603327664" sldId="2146846434"/>
        </pc:sldMkLst>
        <pc:graphicFrameChg chg="modGraphic">
          <ac:chgData name="Nan An" userId="S::nan.an@bayer.com::0df20ddb-c53b-42a8-a1c6-afbff58790ff" providerId="AD" clId="Web-{75F37FD2-A1ED-EC78-0A47-4C9F9CA42B83}" dt="2023-07-28T19:32:07.873" v="61" actId="20577"/>
          <ac:graphicFrameMkLst>
            <pc:docMk/>
            <pc:sldMk cId="2603327664" sldId="2146846434"/>
            <ac:graphicFrameMk id="5" creationId="{A4E8D83B-07E6-446B-4C64-9CA10E465285}"/>
          </ac:graphicFrameMkLst>
        </pc:graphicFrameChg>
      </pc:sldChg>
      <pc:sldChg chg="ord">
        <pc:chgData name="Nan An" userId="S::nan.an@bayer.com::0df20ddb-c53b-42a8-a1c6-afbff58790ff" providerId="AD" clId="Web-{75F37FD2-A1ED-EC78-0A47-4C9F9CA42B83}" dt="2023-07-28T19:30:30.276" v="30"/>
        <pc:sldMkLst>
          <pc:docMk/>
          <pc:sldMk cId="3078875381" sldId="2146846435"/>
        </pc:sldMkLst>
      </pc:sldChg>
    </pc:docChg>
  </pc:docChgLst>
</pc:chgInfo>
</file>

<file path=ppt/comments/modernComment_7FF646BF_5A9266E0.xml><?xml version="1.0" encoding="utf-8"?>
<p188:cmLst xmlns:a="http://schemas.openxmlformats.org/drawingml/2006/main" xmlns:r="http://schemas.openxmlformats.org/officeDocument/2006/relationships" xmlns:p188="http://schemas.microsoft.com/office/powerpoint/2018/8/main">
  <p188:cm id="{3EEB045B-C771-7C44-AA60-1FA767096D60}" authorId="{9103F856-72F8-ECA0-810E-0BEC36EF5530}" status="resolved" created="2023-07-25T16:21:24.595" complete="100000">
    <pc:sldMkLst xmlns:pc="http://schemas.microsoft.com/office/powerpoint/2013/main/command">
      <pc:docMk/>
      <pc:sldMk cId="1519544032" sldId="2146846399"/>
    </pc:sldMkLst>
    <p188:txBody>
      <a:bodyPr/>
      <a:lstStyle/>
      <a:p>
        <a:r>
          <a:rPr lang="en-US"/>
          <a:t>I hided this slide since it can create more confusion than clarification</a:t>
        </a:r>
      </a:p>
    </p188:txBody>
  </p188:cm>
</p188:cmLst>
</file>

<file path=ppt/comments/modernComment_7FF646C7_EE6AB1E0.xml><?xml version="1.0" encoding="utf-8"?>
<p188:cmLst xmlns:a="http://schemas.openxmlformats.org/drawingml/2006/main" xmlns:r="http://schemas.openxmlformats.org/officeDocument/2006/relationships" xmlns:p188="http://schemas.microsoft.com/office/powerpoint/2018/8/main">
  <p188:cm id="{1B861073-24BC-438E-A986-7939AE0333A0}" authorId="{DF8F3B40-C875-95CD-54F4-9AD053BCD049}" status="resolved" created="2023-07-28T21:31:24.810" complete="100000">
    <pc:sldMkLst xmlns:pc="http://schemas.microsoft.com/office/powerpoint/2013/main/command">
      <pc:docMk/>
      <pc:sldMk cId="3999969760" sldId="2146846407"/>
    </pc:sldMkLst>
    <p188:replyLst>
      <p188:reply id="{DBF02D6F-BDB5-DA4F-96DA-D15BEDCCAED1}" authorId="{9103F856-72F8-ECA0-810E-0BEC36EF5530}" created="2023-07-31T20:15:00.442">
        <p188:txBody>
          <a:bodyPr/>
          <a:lstStyle/>
          <a:p>
            <a:r>
              <a:rPr lang="en-US"/>
              <a:t>Nan and I discussed. It’s Okay not to have it. Please resolve this.</a:t>
            </a:r>
          </a:p>
        </p188:txBody>
      </p188:reply>
    </p188:replyLst>
    <p188:txBody>
      <a:bodyPr/>
      <a:lstStyle/>
      <a:p>
        <a:r>
          <a:rPr lang="en-US"/>
          <a:t>Nan, I didn't find suitable stamp image. It was a good idea though.</a:t>
        </a:r>
      </a:p>
    </p188:txBody>
  </p188:cm>
</p188:cmLst>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5F622D-0633-2946-9C88-B37C0F7E2B2E}" type="doc">
      <dgm:prSet loTypeId="urn:microsoft.com/office/officeart/2008/layout/VerticalCurvedList" loCatId="" qsTypeId="urn:microsoft.com/office/officeart/2005/8/quickstyle/simple3" qsCatId="simple" csTypeId="urn:microsoft.com/office/officeart/2005/8/colors/accent0_2" csCatId="mainScheme" phldr="1"/>
      <dgm:spPr/>
      <dgm:t>
        <a:bodyPr/>
        <a:lstStyle/>
        <a:p>
          <a:endParaRPr lang="en-US"/>
        </a:p>
      </dgm:t>
    </dgm:pt>
    <dgm:pt modelId="{E4CDEAA3-706C-2C48-810E-EAF06C7B2C95}">
      <dgm:prSet phldrT="[Text]"/>
      <dgm:spPr/>
      <dgm:t>
        <a:bodyPr/>
        <a:lstStyle/>
        <a:p>
          <a:r>
            <a:rPr lang="en-US">
              <a:latin typeface="Arial"/>
              <a:cs typeface="Arial"/>
            </a:rPr>
            <a:t>G x E</a:t>
          </a:r>
        </a:p>
      </dgm:t>
    </dgm:pt>
    <dgm:pt modelId="{33A9CAEF-96F7-D744-AE80-AB569962CA0D}" type="parTrans" cxnId="{E2DE9E08-7BD2-F446-BAD6-623D009C519A}">
      <dgm:prSet/>
      <dgm:spPr/>
      <dgm:t>
        <a:bodyPr/>
        <a:lstStyle/>
        <a:p>
          <a:endParaRPr lang="en-US"/>
        </a:p>
      </dgm:t>
    </dgm:pt>
    <dgm:pt modelId="{B64876BC-FA84-EC43-847B-BDBB41D5C28D}" type="sibTrans" cxnId="{E2DE9E08-7BD2-F446-BAD6-623D009C519A}">
      <dgm:prSet/>
      <dgm:spPr/>
      <dgm:t>
        <a:bodyPr/>
        <a:lstStyle/>
        <a:p>
          <a:endParaRPr lang="en-US"/>
        </a:p>
      </dgm:t>
    </dgm:pt>
    <dgm:pt modelId="{60BD2FEC-AD50-D94E-999B-857FC6BC3C1B}">
      <dgm:prSet phldrT="[Text]"/>
      <dgm:spPr/>
      <dgm:t>
        <a:bodyPr/>
        <a:lstStyle/>
        <a:p>
          <a:r>
            <a:rPr lang="en-US">
              <a:latin typeface="Arial"/>
              <a:cs typeface="Arial"/>
            </a:rPr>
            <a:t>Testing Footprint Optimization</a:t>
          </a:r>
        </a:p>
      </dgm:t>
    </dgm:pt>
    <dgm:pt modelId="{B6E5D24C-293D-C945-AFCD-1DA1E4711B8F}" type="sibTrans" cxnId="{58120B1E-9F24-054D-8B9C-365364BC1AA2}">
      <dgm:prSet/>
      <dgm:spPr/>
      <dgm:t>
        <a:bodyPr/>
        <a:lstStyle/>
        <a:p>
          <a:endParaRPr lang="en-US"/>
        </a:p>
      </dgm:t>
    </dgm:pt>
    <dgm:pt modelId="{DA4A034B-3A8D-154E-A0A4-F8E2993274C4}" type="parTrans" cxnId="{58120B1E-9F24-054D-8B9C-365364BC1AA2}">
      <dgm:prSet/>
      <dgm:spPr/>
      <dgm:t>
        <a:bodyPr/>
        <a:lstStyle/>
        <a:p>
          <a:endParaRPr lang="en-US"/>
        </a:p>
      </dgm:t>
    </dgm:pt>
    <dgm:pt modelId="{17296340-A781-8F4B-8FDA-C0E369CBB3DA}">
      <dgm:prSet/>
      <dgm:spPr/>
      <dgm:t>
        <a:bodyPr/>
        <a:lstStyle/>
        <a:p>
          <a:r>
            <a:rPr lang="en-US">
              <a:latin typeface="Arial"/>
              <a:cs typeface="Arial"/>
            </a:rPr>
            <a:t>Alternative Testing Location</a:t>
          </a:r>
        </a:p>
      </dgm:t>
    </dgm:pt>
    <dgm:pt modelId="{C6F77118-9F52-A145-A47E-85C5109D3B65}" type="sibTrans" cxnId="{77FBD384-7F94-B844-8CA0-6D509368C53E}">
      <dgm:prSet/>
      <dgm:spPr/>
      <dgm:t>
        <a:bodyPr/>
        <a:lstStyle/>
        <a:p>
          <a:endParaRPr lang="en-US"/>
        </a:p>
      </dgm:t>
    </dgm:pt>
    <dgm:pt modelId="{CD7A59D7-CA01-5844-9187-2931EB445620}" type="parTrans" cxnId="{77FBD384-7F94-B844-8CA0-6D509368C53E}">
      <dgm:prSet/>
      <dgm:spPr/>
      <dgm:t>
        <a:bodyPr/>
        <a:lstStyle/>
        <a:p>
          <a:endParaRPr lang="en-US"/>
        </a:p>
      </dgm:t>
    </dgm:pt>
    <dgm:pt modelId="{06FD4AFC-29B0-BD43-B722-ACA0B30AB725}">
      <dgm:prSet/>
      <dgm:spPr/>
      <dgm:t>
        <a:bodyPr/>
        <a:lstStyle/>
        <a:p>
          <a:r>
            <a:rPr lang="en-US">
              <a:latin typeface="Arial"/>
              <a:cs typeface="Arial"/>
            </a:rPr>
            <a:t>Market Expansion</a:t>
          </a:r>
        </a:p>
      </dgm:t>
    </dgm:pt>
    <dgm:pt modelId="{A12D669F-E041-B340-9F8D-C0252F3484B0}" type="sibTrans" cxnId="{7BC3C22B-B5AD-8A4E-B2D1-D2B2B651BC07}">
      <dgm:prSet/>
      <dgm:spPr/>
      <dgm:t>
        <a:bodyPr/>
        <a:lstStyle/>
        <a:p>
          <a:endParaRPr lang="en-US"/>
        </a:p>
      </dgm:t>
    </dgm:pt>
    <dgm:pt modelId="{0F949E61-3835-674D-82A7-6FD49DBA4428}" type="parTrans" cxnId="{7BC3C22B-B5AD-8A4E-B2D1-D2B2B651BC07}">
      <dgm:prSet/>
      <dgm:spPr/>
      <dgm:t>
        <a:bodyPr/>
        <a:lstStyle/>
        <a:p>
          <a:endParaRPr lang="en-US"/>
        </a:p>
      </dgm:t>
    </dgm:pt>
    <dgm:pt modelId="{2CA9BA45-1590-4657-9A0F-A23AF068AD85}">
      <dgm:prSet phldrT="[Text]"/>
      <dgm:spPr/>
      <dgm:t>
        <a:bodyPr/>
        <a:lstStyle/>
        <a:p>
          <a:r>
            <a:rPr lang="en-US">
              <a:latin typeface="Arial"/>
              <a:cs typeface="Arial"/>
            </a:rPr>
            <a:t>understanding of germplasm response</a:t>
          </a:r>
        </a:p>
      </dgm:t>
    </dgm:pt>
    <dgm:pt modelId="{3F7E33E1-067B-4378-AFE4-543EC4CED9C4}" type="parTrans" cxnId="{D354ABA4-3105-4535-807D-E0D7EFB2E759}">
      <dgm:prSet/>
      <dgm:spPr/>
      <dgm:t>
        <a:bodyPr/>
        <a:lstStyle/>
        <a:p>
          <a:endParaRPr lang="en-US"/>
        </a:p>
      </dgm:t>
    </dgm:pt>
    <dgm:pt modelId="{3A711021-7FCD-4D94-922B-2032771E9658}" type="sibTrans" cxnId="{D354ABA4-3105-4535-807D-E0D7EFB2E759}">
      <dgm:prSet/>
      <dgm:spPr/>
      <dgm:t>
        <a:bodyPr/>
        <a:lstStyle/>
        <a:p>
          <a:endParaRPr lang="en-US"/>
        </a:p>
      </dgm:t>
    </dgm:pt>
    <dgm:pt modelId="{CE484FDB-B210-3844-BEDD-68D84C53F446}" type="pres">
      <dgm:prSet presAssocID="{225F622D-0633-2946-9C88-B37C0F7E2B2E}" presName="Name0" presStyleCnt="0">
        <dgm:presLayoutVars>
          <dgm:chMax val="7"/>
          <dgm:chPref val="7"/>
          <dgm:dir/>
        </dgm:presLayoutVars>
      </dgm:prSet>
      <dgm:spPr/>
    </dgm:pt>
    <dgm:pt modelId="{922C58E6-0393-664C-A4D3-7A9D41837671}" type="pres">
      <dgm:prSet presAssocID="{225F622D-0633-2946-9C88-B37C0F7E2B2E}" presName="Name1" presStyleCnt="0"/>
      <dgm:spPr/>
    </dgm:pt>
    <dgm:pt modelId="{81D1B54B-89AD-F84E-B66B-7C75F3215B8F}" type="pres">
      <dgm:prSet presAssocID="{225F622D-0633-2946-9C88-B37C0F7E2B2E}" presName="cycle" presStyleCnt="0"/>
      <dgm:spPr/>
    </dgm:pt>
    <dgm:pt modelId="{C40CCC3B-B9FB-2144-8C36-7245AAB52164}" type="pres">
      <dgm:prSet presAssocID="{225F622D-0633-2946-9C88-B37C0F7E2B2E}" presName="srcNode" presStyleLbl="node1" presStyleIdx="0" presStyleCnt="5"/>
      <dgm:spPr/>
    </dgm:pt>
    <dgm:pt modelId="{374D488C-F995-C04E-8254-6D1D769275AC}" type="pres">
      <dgm:prSet presAssocID="{225F622D-0633-2946-9C88-B37C0F7E2B2E}" presName="conn" presStyleLbl="parChTrans1D2" presStyleIdx="0" presStyleCnt="1"/>
      <dgm:spPr/>
    </dgm:pt>
    <dgm:pt modelId="{6E232705-14FD-374B-8300-48A3717C74F8}" type="pres">
      <dgm:prSet presAssocID="{225F622D-0633-2946-9C88-B37C0F7E2B2E}" presName="extraNode" presStyleLbl="node1" presStyleIdx="0" presStyleCnt="5"/>
      <dgm:spPr/>
    </dgm:pt>
    <dgm:pt modelId="{36C5CDE3-01E9-2A4B-AE17-000776F31514}" type="pres">
      <dgm:prSet presAssocID="{225F622D-0633-2946-9C88-B37C0F7E2B2E}" presName="dstNode" presStyleLbl="node1" presStyleIdx="0" presStyleCnt="5"/>
      <dgm:spPr/>
    </dgm:pt>
    <dgm:pt modelId="{9D90485D-E2FE-4C4B-9B8D-625C5D265FD7}" type="pres">
      <dgm:prSet presAssocID="{2CA9BA45-1590-4657-9A0F-A23AF068AD85}" presName="text_1" presStyleLbl="node1" presStyleIdx="0" presStyleCnt="5">
        <dgm:presLayoutVars>
          <dgm:bulletEnabled val="1"/>
        </dgm:presLayoutVars>
      </dgm:prSet>
      <dgm:spPr/>
    </dgm:pt>
    <dgm:pt modelId="{9568F6FD-4BE4-4FC1-A28E-A0B875890E6C}" type="pres">
      <dgm:prSet presAssocID="{2CA9BA45-1590-4657-9A0F-A23AF068AD85}" presName="accent_1" presStyleCnt="0"/>
      <dgm:spPr/>
    </dgm:pt>
    <dgm:pt modelId="{F7D87AC4-6BD4-4555-B634-2B6697D44C4A}" type="pres">
      <dgm:prSet presAssocID="{2CA9BA45-1590-4657-9A0F-A23AF068AD85}" presName="accentRepeatNode" presStyleLbl="solidFgAcc1" presStyleIdx="0" presStyleCnt="5" custScaleX="48477" custScaleY="50356"/>
      <dgm:spPr/>
    </dgm:pt>
    <dgm:pt modelId="{A91547C8-BEEF-4B50-997C-D666D4BF5A77}" type="pres">
      <dgm:prSet presAssocID="{E4CDEAA3-706C-2C48-810E-EAF06C7B2C95}" presName="text_2" presStyleLbl="node1" presStyleIdx="1" presStyleCnt="5">
        <dgm:presLayoutVars>
          <dgm:bulletEnabled val="1"/>
        </dgm:presLayoutVars>
      </dgm:prSet>
      <dgm:spPr/>
    </dgm:pt>
    <dgm:pt modelId="{DF5463D3-0512-4E7B-A1BD-6C45F6B2F702}" type="pres">
      <dgm:prSet presAssocID="{E4CDEAA3-706C-2C48-810E-EAF06C7B2C95}" presName="accent_2" presStyleCnt="0"/>
      <dgm:spPr/>
    </dgm:pt>
    <dgm:pt modelId="{5B4EE567-219F-AD4B-B9CA-CAD2F4F1E79E}" type="pres">
      <dgm:prSet presAssocID="{E4CDEAA3-706C-2C48-810E-EAF06C7B2C95}" presName="accentRepeatNode" presStyleLbl="solidFgAcc1" presStyleIdx="1" presStyleCnt="5" custScaleX="46797" custScaleY="46797"/>
      <dgm:spPr/>
    </dgm:pt>
    <dgm:pt modelId="{E1B0CC18-4735-4CA8-BDF5-F0547F729FAE}" type="pres">
      <dgm:prSet presAssocID="{60BD2FEC-AD50-D94E-999B-857FC6BC3C1B}" presName="text_3" presStyleLbl="node1" presStyleIdx="2" presStyleCnt="5">
        <dgm:presLayoutVars>
          <dgm:bulletEnabled val="1"/>
        </dgm:presLayoutVars>
      </dgm:prSet>
      <dgm:spPr/>
    </dgm:pt>
    <dgm:pt modelId="{C906F837-0FB5-4348-B1CE-E3012780F970}" type="pres">
      <dgm:prSet presAssocID="{60BD2FEC-AD50-D94E-999B-857FC6BC3C1B}" presName="accent_3" presStyleCnt="0"/>
      <dgm:spPr/>
    </dgm:pt>
    <dgm:pt modelId="{FD012FB0-3EE1-7C47-BA84-D2896AC1E983}" type="pres">
      <dgm:prSet presAssocID="{60BD2FEC-AD50-D94E-999B-857FC6BC3C1B}" presName="accentRepeatNode" presStyleLbl="solidFgAcc1" presStyleIdx="2" presStyleCnt="5" custScaleX="46797" custScaleY="46797"/>
      <dgm:spPr/>
    </dgm:pt>
    <dgm:pt modelId="{0B83F0EF-0FB0-4FDD-98F5-4DD8A89E3762}" type="pres">
      <dgm:prSet presAssocID="{17296340-A781-8F4B-8FDA-C0E369CBB3DA}" presName="text_4" presStyleLbl="node1" presStyleIdx="3" presStyleCnt="5">
        <dgm:presLayoutVars>
          <dgm:bulletEnabled val="1"/>
        </dgm:presLayoutVars>
      </dgm:prSet>
      <dgm:spPr/>
    </dgm:pt>
    <dgm:pt modelId="{B37AF8D3-39D2-4399-973D-57143A7448BC}" type="pres">
      <dgm:prSet presAssocID="{17296340-A781-8F4B-8FDA-C0E369CBB3DA}" presName="accent_4" presStyleCnt="0"/>
      <dgm:spPr/>
    </dgm:pt>
    <dgm:pt modelId="{F3083065-5670-EB4C-826E-55C08C1442D9}" type="pres">
      <dgm:prSet presAssocID="{17296340-A781-8F4B-8FDA-C0E369CBB3DA}" presName="accentRepeatNode" presStyleLbl="solidFgAcc1" presStyleIdx="3" presStyleCnt="5" custScaleX="46797" custScaleY="46797"/>
      <dgm:spPr/>
    </dgm:pt>
    <dgm:pt modelId="{0785A900-8DE7-4397-8935-E374A98DF345}" type="pres">
      <dgm:prSet presAssocID="{06FD4AFC-29B0-BD43-B722-ACA0B30AB725}" presName="text_5" presStyleLbl="node1" presStyleIdx="4" presStyleCnt="5">
        <dgm:presLayoutVars>
          <dgm:bulletEnabled val="1"/>
        </dgm:presLayoutVars>
      </dgm:prSet>
      <dgm:spPr/>
    </dgm:pt>
    <dgm:pt modelId="{E5F58FA1-9861-4C63-89B2-E2C6F67A5DA2}" type="pres">
      <dgm:prSet presAssocID="{06FD4AFC-29B0-BD43-B722-ACA0B30AB725}" presName="accent_5" presStyleCnt="0"/>
      <dgm:spPr/>
    </dgm:pt>
    <dgm:pt modelId="{3994974B-2FA6-2443-8656-F0D33C816422}" type="pres">
      <dgm:prSet presAssocID="{06FD4AFC-29B0-BD43-B722-ACA0B30AB725}" presName="accentRepeatNode" presStyleLbl="solidFgAcc1" presStyleIdx="4" presStyleCnt="5" custScaleX="46797" custScaleY="46797"/>
      <dgm:spPr/>
    </dgm:pt>
  </dgm:ptLst>
  <dgm:cxnLst>
    <dgm:cxn modelId="{E2DE9E08-7BD2-F446-BAD6-623D009C519A}" srcId="{225F622D-0633-2946-9C88-B37C0F7E2B2E}" destId="{E4CDEAA3-706C-2C48-810E-EAF06C7B2C95}" srcOrd="1" destOrd="0" parTransId="{33A9CAEF-96F7-D744-AE80-AB569962CA0D}" sibTransId="{B64876BC-FA84-EC43-847B-BDBB41D5C28D}"/>
    <dgm:cxn modelId="{AF620312-BA3C-4770-AAB2-777F4597E023}" type="presOf" srcId="{17296340-A781-8F4B-8FDA-C0E369CBB3DA}" destId="{0B83F0EF-0FB0-4FDD-98F5-4DD8A89E3762}" srcOrd="0" destOrd="0" presId="urn:microsoft.com/office/officeart/2008/layout/VerticalCurvedList"/>
    <dgm:cxn modelId="{58120B1E-9F24-054D-8B9C-365364BC1AA2}" srcId="{225F622D-0633-2946-9C88-B37C0F7E2B2E}" destId="{60BD2FEC-AD50-D94E-999B-857FC6BC3C1B}" srcOrd="2" destOrd="0" parTransId="{DA4A034B-3A8D-154E-A0A4-F8E2993274C4}" sibTransId="{B6E5D24C-293D-C945-AFCD-1DA1E4711B8F}"/>
    <dgm:cxn modelId="{0D481D1F-A2B1-4BC3-96D7-AE501EA12FDA}" type="presOf" srcId="{2CA9BA45-1590-4657-9A0F-A23AF068AD85}" destId="{9D90485D-E2FE-4C4B-9B8D-625C5D265FD7}" srcOrd="0" destOrd="0" presId="urn:microsoft.com/office/officeart/2008/layout/VerticalCurvedList"/>
    <dgm:cxn modelId="{7BC3C22B-B5AD-8A4E-B2D1-D2B2B651BC07}" srcId="{225F622D-0633-2946-9C88-B37C0F7E2B2E}" destId="{06FD4AFC-29B0-BD43-B722-ACA0B30AB725}" srcOrd="4" destOrd="0" parTransId="{0F949E61-3835-674D-82A7-6FD49DBA4428}" sibTransId="{A12D669F-E041-B340-9F8D-C0252F3484B0}"/>
    <dgm:cxn modelId="{EEBFB068-F434-49C3-B0E2-119ED5EDF395}" type="presOf" srcId="{06FD4AFC-29B0-BD43-B722-ACA0B30AB725}" destId="{0785A900-8DE7-4397-8935-E374A98DF345}" srcOrd="0" destOrd="0" presId="urn:microsoft.com/office/officeart/2008/layout/VerticalCurvedList"/>
    <dgm:cxn modelId="{060A676C-1CC8-4B75-9746-595ED176417E}" type="presOf" srcId="{E4CDEAA3-706C-2C48-810E-EAF06C7B2C95}" destId="{A91547C8-BEEF-4B50-997C-D666D4BF5A77}" srcOrd="0" destOrd="0" presId="urn:microsoft.com/office/officeart/2008/layout/VerticalCurvedList"/>
    <dgm:cxn modelId="{0721AB54-1965-45DA-B984-4905407DF6FE}" type="presOf" srcId="{3A711021-7FCD-4D94-922B-2032771E9658}" destId="{374D488C-F995-C04E-8254-6D1D769275AC}" srcOrd="0" destOrd="0" presId="urn:microsoft.com/office/officeart/2008/layout/VerticalCurvedList"/>
    <dgm:cxn modelId="{77FBD384-7F94-B844-8CA0-6D509368C53E}" srcId="{225F622D-0633-2946-9C88-B37C0F7E2B2E}" destId="{17296340-A781-8F4B-8FDA-C0E369CBB3DA}" srcOrd="3" destOrd="0" parTransId="{CD7A59D7-CA01-5844-9187-2931EB445620}" sibTransId="{C6F77118-9F52-A145-A47E-85C5109D3B65}"/>
    <dgm:cxn modelId="{410FDBA0-0C5E-4D5F-9A47-D38D21895BBB}" type="presOf" srcId="{60BD2FEC-AD50-D94E-999B-857FC6BC3C1B}" destId="{E1B0CC18-4735-4CA8-BDF5-F0547F729FAE}" srcOrd="0" destOrd="0" presId="urn:microsoft.com/office/officeart/2008/layout/VerticalCurvedList"/>
    <dgm:cxn modelId="{D354ABA4-3105-4535-807D-E0D7EFB2E759}" srcId="{225F622D-0633-2946-9C88-B37C0F7E2B2E}" destId="{2CA9BA45-1590-4657-9A0F-A23AF068AD85}" srcOrd="0" destOrd="0" parTransId="{3F7E33E1-067B-4378-AFE4-543EC4CED9C4}" sibTransId="{3A711021-7FCD-4D94-922B-2032771E9658}"/>
    <dgm:cxn modelId="{28D70AE4-93E7-0E41-9212-6224878D0D79}" type="presOf" srcId="{225F622D-0633-2946-9C88-B37C0F7E2B2E}" destId="{CE484FDB-B210-3844-BEDD-68D84C53F446}" srcOrd="0" destOrd="0" presId="urn:microsoft.com/office/officeart/2008/layout/VerticalCurvedList"/>
    <dgm:cxn modelId="{ECAA4AD2-AEC8-DB44-A7B0-8ADA5CB1E7B2}" type="presParOf" srcId="{CE484FDB-B210-3844-BEDD-68D84C53F446}" destId="{922C58E6-0393-664C-A4D3-7A9D41837671}" srcOrd="0" destOrd="0" presId="urn:microsoft.com/office/officeart/2008/layout/VerticalCurvedList"/>
    <dgm:cxn modelId="{DF90AF6D-D7A5-8E46-B763-461E0EC054A4}" type="presParOf" srcId="{922C58E6-0393-664C-A4D3-7A9D41837671}" destId="{81D1B54B-89AD-F84E-B66B-7C75F3215B8F}" srcOrd="0" destOrd="0" presId="urn:microsoft.com/office/officeart/2008/layout/VerticalCurvedList"/>
    <dgm:cxn modelId="{752DFCE1-A301-794B-9A18-E36A499DA6BF}" type="presParOf" srcId="{81D1B54B-89AD-F84E-B66B-7C75F3215B8F}" destId="{C40CCC3B-B9FB-2144-8C36-7245AAB52164}" srcOrd="0" destOrd="0" presId="urn:microsoft.com/office/officeart/2008/layout/VerticalCurvedList"/>
    <dgm:cxn modelId="{1482E2E9-893F-C84B-8BA4-43D43E6092A1}" type="presParOf" srcId="{81D1B54B-89AD-F84E-B66B-7C75F3215B8F}" destId="{374D488C-F995-C04E-8254-6D1D769275AC}" srcOrd="1" destOrd="0" presId="urn:microsoft.com/office/officeart/2008/layout/VerticalCurvedList"/>
    <dgm:cxn modelId="{5F3154D3-2059-0945-B85B-31A4F663AFCC}" type="presParOf" srcId="{81D1B54B-89AD-F84E-B66B-7C75F3215B8F}" destId="{6E232705-14FD-374B-8300-48A3717C74F8}" srcOrd="2" destOrd="0" presId="urn:microsoft.com/office/officeart/2008/layout/VerticalCurvedList"/>
    <dgm:cxn modelId="{BE005AEF-9621-4A40-8C92-9B01F7DCAF1F}" type="presParOf" srcId="{81D1B54B-89AD-F84E-B66B-7C75F3215B8F}" destId="{36C5CDE3-01E9-2A4B-AE17-000776F31514}" srcOrd="3" destOrd="0" presId="urn:microsoft.com/office/officeart/2008/layout/VerticalCurvedList"/>
    <dgm:cxn modelId="{234A0878-A085-4AB8-B141-9374C449935E}" type="presParOf" srcId="{922C58E6-0393-664C-A4D3-7A9D41837671}" destId="{9D90485D-E2FE-4C4B-9B8D-625C5D265FD7}" srcOrd="1" destOrd="0" presId="urn:microsoft.com/office/officeart/2008/layout/VerticalCurvedList"/>
    <dgm:cxn modelId="{EBB21F66-9E80-4C9D-BA2B-EECAD9C162A7}" type="presParOf" srcId="{922C58E6-0393-664C-A4D3-7A9D41837671}" destId="{9568F6FD-4BE4-4FC1-A28E-A0B875890E6C}" srcOrd="2" destOrd="0" presId="urn:microsoft.com/office/officeart/2008/layout/VerticalCurvedList"/>
    <dgm:cxn modelId="{F904A792-FED7-4DAA-9985-BFAB2F24CDC4}" type="presParOf" srcId="{9568F6FD-4BE4-4FC1-A28E-A0B875890E6C}" destId="{F7D87AC4-6BD4-4555-B634-2B6697D44C4A}" srcOrd="0" destOrd="0" presId="urn:microsoft.com/office/officeart/2008/layout/VerticalCurvedList"/>
    <dgm:cxn modelId="{7B248869-F6C7-4C43-823B-9AA39F5F8C27}" type="presParOf" srcId="{922C58E6-0393-664C-A4D3-7A9D41837671}" destId="{A91547C8-BEEF-4B50-997C-D666D4BF5A77}" srcOrd="3" destOrd="0" presId="urn:microsoft.com/office/officeart/2008/layout/VerticalCurvedList"/>
    <dgm:cxn modelId="{0033EF5F-A9FC-4996-A794-2F7E3083A8C9}" type="presParOf" srcId="{922C58E6-0393-664C-A4D3-7A9D41837671}" destId="{DF5463D3-0512-4E7B-A1BD-6C45F6B2F702}" srcOrd="4" destOrd="0" presId="urn:microsoft.com/office/officeart/2008/layout/VerticalCurvedList"/>
    <dgm:cxn modelId="{3EE5433C-A945-4A91-9B7E-D26F1F459B8B}" type="presParOf" srcId="{DF5463D3-0512-4E7B-A1BD-6C45F6B2F702}" destId="{5B4EE567-219F-AD4B-B9CA-CAD2F4F1E79E}" srcOrd="0" destOrd="0" presId="urn:microsoft.com/office/officeart/2008/layout/VerticalCurvedList"/>
    <dgm:cxn modelId="{515B4073-4097-45F5-A733-D614DC3FA358}" type="presParOf" srcId="{922C58E6-0393-664C-A4D3-7A9D41837671}" destId="{E1B0CC18-4735-4CA8-BDF5-F0547F729FAE}" srcOrd="5" destOrd="0" presId="urn:microsoft.com/office/officeart/2008/layout/VerticalCurvedList"/>
    <dgm:cxn modelId="{31D9DD10-CF27-4968-AEAD-05646C5779AC}" type="presParOf" srcId="{922C58E6-0393-664C-A4D3-7A9D41837671}" destId="{C906F837-0FB5-4348-B1CE-E3012780F970}" srcOrd="6" destOrd="0" presId="urn:microsoft.com/office/officeart/2008/layout/VerticalCurvedList"/>
    <dgm:cxn modelId="{58E3DCB9-F86A-4F26-91D7-2E110774DFCA}" type="presParOf" srcId="{C906F837-0FB5-4348-B1CE-E3012780F970}" destId="{FD012FB0-3EE1-7C47-BA84-D2896AC1E983}" srcOrd="0" destOrd="0" presId="urn:microsoft.com/office/officeart/2008/layout/VerticalCurvedList"/>
    <dgm:cxn modelId="{3E4C80E1-495D-4AA1-8D36-186843438377}" type="presParOf" srcId="{922C58E6-0393-664C-A4D3-7A9D41837671}" destId="{0B83F0EF-0FB0-4FDD-98F5-4DD8A89E3762}" srcOrd="7" destOrd="0" presId="urn:microsoft.com/office/officeart/2008/layout/VerticalCurvedList"/>
    <dgm:cxn modelId="{6182108B-D9B7-4467-8449-C10614F671E0}" type="presParOf" srcId="{922C58E6-0393-664C-A4D3-7A9D41837671}" destId="{B37AF8D3-39D2-4399-973D-57143A7448BC}" srcOrd="8" destOrd="0" presId="urn:microsoft.com/office/officeart/2008/layout/VerticalCurvedList"/>
    <dgm:cxn modelId="{3FFEC6CB-DAA8-47B8-A161-3C40DF6189FD}" type="presParOf" srcId="{B37AF8D3-39D2-4399-973D-57143A7448BC}" destId="{F3083065-5670-EB4C-826E-55C08C1442D9}" srcOrd="0" destOrd="0" presId="urn:microsoft.com/office/officeart/2008/layout/VerticalCurvedList"/>
    <dgm:cxn modelId="{3BD92DEA-66E4-43C6-8381-86A12528347E}" type="presParOf" srcId="{922C58E6-0393-664C-A4D3-7A9D41837671}" destId="{0785A900-8DE7-4397-8935-E374A98DF345}" srcOrd="9" destOrd="0" presId="urn:microsoft.com/office/officeart/2008/layout/VerticalCurvedList"/>
    <dgm:cxn modelId="{FE42F37D-D3EF-470C-9499-01AC72E9A615}" type="presParOf" srcId="{922C58E6-0393-664C-A4D3-7A9D41837671}" destId="{E5F58FA1-9861-4C63-89B2-E2C6F67A5DA2}" srcOrd="10" destOrd="0" presId="urn:microsoft.com/office/officeart/2008/layout/VerticalCurvedList"/>
    <dgm:cxn modelId="{D0155D1E-2CD6-452A-B015-F5CD27BC959B}" type="presParOf" srcId="{E5F58FA1-9861-4C63-89B2-E2C6F67A5DA2}" destId="{3994974B-2FA6-2443-8656-F0D33C816422}"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B20BAC-50AB-4E9A-A81F-AFC34B6BBC5A}" type="doc">
      <dgm:prSet loTypeId="urn:microsoft.com/office/officeart/2005/8/layout/radial6" loCatId="cycle" qsTypeId="urn:microsoft.com/office/officeart/2005/8/quickstyle/simple3" qsCatId="simple" csTypeId="urn:microsoft.com/office/officeart/2005/8/colors/accent0_2" csCatId="mainScheme" phldr="1"/>
      <dgm:spPr/>
      <dgm:t>
        <a:bodyPr/>
        <a:lstStyle/>
        <a:p>
          <a:endParaRPr lang="en-US"/>
        </a:p>
      </dgm:t>
    </dgm:pt>
    <dgm:pt modelId="{0B1C53B0-2059-4301-A95E-3984C5A24B8C}">
      <dgm:prSet phldrT="[Text]"/>
      <dgm:spPr/>
      <dgm:t>
        <a:bodyPr/>
        <a:lstStyle/>
        <a:p>
          <a:r>
            <a:rPr lang="en-US" b="0">
              <a:solidFill>
                <a:srgbClr val="0070C0"/>
              </a:solidFill>
              <a:latin typeface="Arial"/>
              <a:cs typeface="Arial"/>
            </a:rPr>
            <a:t>Framework to develop ARD</a:t>
          </a:r>
        </a:p>
      </dgm:t>
    </dgm:pt>
    <dgm:pt modelId="{713A30DF-F3E3-4070-A01B-9C1D789EC223}" type="parTrans" cxnId="{259AB628-8557-4099-9B7B-409699977678}">
      <dgm:prSet/>
      <dgm:spPr/>
      <dgm:t>
        <a:bodyPr/>
        <a:lstStyle/>
        <a:p>
          <a:endParaRPr lang="en-US"/>
        </a:p>
      </dgm:t>
    </dgm:pt>
    <dgm:pt modelId="{8E5A61E7-2145-4FA0-AC51-0959ADE74822}" type="sibTrans" cxnId="{259AB628-8557-4099-9B7B-409699977678}">
      <dgm:prSet/>
      <dgm:spPr/>
      <dgm:t>
        <a:bodyPr/>
        <a:lstStyle/>
        <a:p>
          <a:endParaRPr lang="en-US"/>
        </a:p>
      </dgm:t>
    </dgm:pt>
    <dgm:pt modelId="{D49502F5-606D-47DB-9E6A-427C8CA307B3}">
      <dgm:prSet phldrT="[Text]"/>
      <dgm:spPr/>
      <dgm:t>
        <a:bodyPr/>
        <a:lstStyle/>
        <a:p>
          <a:r>
            <a:rPr lang="en-US" b="0">
              <a:latin typeface="Arial"/>
              <a:cs typeface="Arial"/>
            </a:rPr>
            <a:t>Different Regions</a:t>
          </a:r>
        </a:p>
      </dgm:t>
    </dgm:pt>
    <dgm:pt modelId="{107C0B0A-612A-4282-AF04-AF5D9C4FAFE0}" type="parTrans" cxnId="{FC769F1A-363C-4CA5-B476-035A0065FB5C}">
      <dgm:prSet/>
      <dgm:spPr/>
      <dgm:t>
        <a:bodyPr/>
        <a:lstStyle/>
        <a:p>
          <a:endParaRPr lang="en-US"/>
        </a:p>
      </dgm:t>
    </dgm:pt>
    <dgm:pt modelId="{CF1269FA-8F1B-423B-B86C-3EB615A60958}" type="sibTrans" cxnId="{FC769F1A-363C-4CA5-B476-035A0065FB5C}">
      <dgm:prSet/>
      <dgm:spPr/>
      <dgm:t>
        <a:bodyPr/>
        <a:lstStyle/>
        <a:p>
          <a:endParaRPr lang="en-US"/>
        </a:p>
      </dgm:t>
    </dgm:pt>
    <dgm:pt modelId="{AEC05586-746F-4A5B-B615-D38248B41660}">
      <dgm:prSet phldrT="[Text]"/>
      <dgm:spPr/>
      <dgm:t>
        <a:bodyPr/>
        <a:lstStyle/>
        <a:p>
          <a:pPr rtl="0"/>
          <a:r>
            <a:rPr lang="en-US" b="0">
              <a:latin typeface="Arial"/>
              <a:cs typeface="Arial"/>
            </a:rPr>
            <a:t>Different Resolution </a:t>
          </a:r>
        </a:p>
        <a:p>
          <a:r>
            <a:rPr lang="en-US" b="0">
              <a:latin typeface="Arial"/>
              <a:cs typeface="Arial"/>
            </a:rPr>
            <a:t>(Low to High)</a:t>
          </a:r>
        </a:p>
      </dgm:t>
    </dgm:pt>
    <dgm:pt modelId="{308A5C2A-D952-47C5-9E40-0EC335500E31}" type="parTrans" cxnId="{F0D8CEAE-4287-4218-92F5-8C513EF70563}">
      <dgm:prSet/>
      <dgm:spPr/>
      <dgm:t>
        <a:bodyPr/>
        <a:lstStyle/>
        <a:p>
          <a:endParaRPr lang="en-US"/>
        </a:p>
      </dgm:t>
    </dgm:pt>
    <dgm:pt modelId="{B61A0D93-9590-4A1C-8FB5-17BA9EB36D4B}" type="sibTrans" cxnId="{F0D8CEAE-4287-4218-92F5-8C513EF70563}">
      <dgm:prSet/>
      <dgm:spPr/>
      <dgm:t>
        <a:bodyPr/>
        <a:lstStyle/>
        <a:p>
          <a:endParaRPr lang="en-US"/>
        </a:p>
      </dgm:t>
    </dgm:pt>
    <dgm:pt modelId="{6EA5F817-F2D1-40F2-86A5-24ED238781E4}">
      <dgm:prSet phldrT="[Text]"/>
      <dgm:spPr/>
      <dgm:t>
        <a:bodyPr/>
        <a:lstStyle/>
        <a:p>
          <a:r>
            <a:rPr lang="en-US" b="0">
              <a:latin typeface="Arial"/>
              <a:cs typeface="Arial"/>
            </a:rPr>
            <a:t>Different Variables</a:t>
          </a:r>
        </a:p>
      </dgm:t>
    </dgm:pt>
    <dgm:pt modelId="{ED67650B-5E99-4F32-BE6C-92AE7A5C2A9B}" type="parTrans" cxnId="{0EC04346-D3A3-45DE-AC20-BB43DD958E49}">
      <dgm:prSet/>
      <dgm:spPr/>
      <dgm:t>
        <a:bodyPr/>
        <a:lstStyle/>
        <a:p>
          <a:endParaRPr lang="en-US"/>
        </a:p>
      </dgm:t>
    </dgm:pt>
    <dgm:pt modelId="{DA7C03E3-B87C-42C4-AFFB-C34244716E4D}" type="sibTrans" cxnId="{0EC04346-D3A3-45DE-AC20-BB43DD958E49}">
      <dgm:prSet/>
      <dgm:spPr/>
      <dgm:t>
        <a:bodyPr/>
        <a:lstStyle/>
        <a:p>
          <a:endParaRPr lang="en-US"/>
        </a:p>
      </dgm:t>
    </dgm:pt>
    <dgm:pt modelId="{AC6B1590-E593-4F0A-88A3-61E00CDB11CD}" type="pres">
      <dgm:prSet presAssocID="{4AB20BAC-50AB-4E9A-A81F-AFC34B6BBC5A}" presName="Name0" presStyleCnt="0">
        <dgm:presLayoutVars>
          <dgm:chMax val="1"/>
          <dgm:dir/>
          <dgm:animLvl val="ctr"/>
          <dgm:resizeHandles val="exact"/>
        </dgm:presLayoutVars>
      </dgm:prSet>
      <dgm:spPr/>
    </dgm:pt>
    <dgm:pt modelId="{FD698645-F894-41AA-B351-063E8ED81A27}" type="pres">
      <dgm:prSet presAssocID="{0B1C53B0-2059-4301-A95E-3984C5A24B8C}" presName="centerShape" presStyleLbl="node0" presStyleIdx="0" presStyleCnt="1"/>
      <dgm:spPr/>
    </dgm:pt>
    <dgm:pt modelId="{9110FEF6-01FE-4FF2-AEF5-AC31D26583C2}" type="pres">
      <dgm:prSet presAssocID="{D49502F5-606D-47DB-9E6A-427C8CA307B3}" presName="node" presStyleLbl="node1" presStyleIdx="0" presStyleCnt="3">
        <dgm:presLayoutVars>
          <dgm:bulletEnabled val="1"/>
        </dgm:presLayoutVars>
      </dgm:prSet>
      <dgm:spPr/>
    </dgm:pt>
    <dgm:pt modelId="{99C2B632-6EFD-4871-BC26-8C39056608C5}" type="pres">
      <dgm:prSet presAssocID="{D49502F5-606D-47DB-9E6A-427C8CA307B3}" presName="dummy" presStyleCnt="0"/>
      <dgm:spPr/>
    </dgm:pt>
    <dgm:pt modelId="{D5CA9756-C80F-457A-AE90-86D6B49E155C}" type="pres">
      <dgm:prSet presAssocID="{CF1269FA-8F1B-423B-B86C-3EB615A60958}" presName="sibTrans" presStyleLbl="sibTrans2D1" presStyleIdx="0" presStyleCnt="3"/>
      <dgm:spPr/>
    </dgm:pt>
    <dgm:pt modelId="{4370FAD4-A0DA-49EC-AE4A-89BCB1DB6970}" type="pres">
      <dgm:prSet presAssocID="{AEC05586-746F-4A5B-B615-D38248B41660}" presName="node" presStyleLbl="node1" presStyleIdx="1" presStyleCnt="3">
        <dgm:presLayoutVars>
          <dgm:bulletEnabled val="1"/>
        </dgm:presLayoutVars>
      </dgm:prSet>
      <dgm:spPr/>
    </dgm:pt>
    <dgm:pt modelId="{15698508-405C-4AAE-9E2F-35207EEA1202}" type="pres">
      <dgm:prSet presAssocID="{AEC05586-746F-4A5B-B615-D38248B41660}" presName="dummy" presStyleCnt="0"/>
      <dgm:spPr/>
    </dgm:pt>
    <dgm:pt modelId="{593C6C92-DB1C-447B-A454-B6F4C73278F4}" type="pres">
      <dgm:prSet presAssocID="{B61A0D93-9590-4A1C-8FB5-17BA9EB36D4B}" presName="sibTrans" presStyleLbl="sibTrans2D1" presStyleIdx="1" presStyleCnt="3"/>
      <dgm:spPr/>
    </dgm:pt>
    <dgm:pt modelId="{52E43205-0459-49BB-91E0-EE30148258C4}" type="pres">
      <dgm:prSet presAssocID="{6EA5F817-F2D1-40F2-86A5-24ED238781E4}" presName="node" presStyleLbl="node1" presStyleIdx="2" presStyleCnt="3">
        <dgm:presLayoutVars>
          <dgm:bulletEnabled val="1"/>
        </dgm:presLayoutVars>
      </dgm:prSet>
      <dgm:spPr/>
    </dgm:pt>
    <dgm:pt modelId="{59910D7B-C8E5-4895-9248-082E7B774FBE}" type="pres">
      <dgm:prSet presAssocID="{6EA5F817-F2D1-40F2-86A5-24ED238781E4}" presName="dummy" presStyleCnt="0"/>
      <dgm:spPr/>
    </dgm:pt>
    <dgm:pt modelId="{66C28DBB-51A5-4C83-8020-DEEC1A4FFD3D}" type="pres">
      <dgm:prSet presAssocID="{DA7C03E3-B87C-42C4-AFFB-C34244716E4D}" presName="sibTrans" presStyleLbl="sibTrans2D1" presStyleIdx="2" presStyleCnt="3"/>
      <dgm:spPr/>
    </dgm:pt>
  </dgm:ptLst>
  <dgm:cxnLst>
    <dgm:cxn modelId="{A7CFC304-1517-467C-BA4E-B20F26072639}" type="presOf" srcId="{6EA5F817-F2D1-40F2-86A5-24ED238781E4}" destId="{52E43205-0459-49BB-91E0-EE30148258C4}" srcOrd="0" destOrd="0" presId="urn:microsoft.com/office/officeart/2005/8/layout/radial6"/>
    <dgm:cxn modelId="{FC769F1A-363C-4CA5-B476-035A0065FB5C}" srcId="{0B1C53B0-2059-4301-A95E-3984C5A24B8C}" destId="{D49502F5-606D-47DB-9E6A-427C8CA307B3}" srcOrd="0" destOrd="0" parTransId="{107C0B0A-612A-4282-AF04-AF5D9C4FAFE0}" sibTransId="{CF1269FA-8F1B-423B-B86C-3EB615A60958}"/>
    <dgm:cxn modelId="{0877F71C-935B-4C52-8BFB-E8A1EB47C139}" type="presOf" srcId="{D49502F5-606D-47DB-9E6A-427C8CA307B3}" destId="{9110FEF6-01FE-4FF2-AEF5-AC31D26583C2}" srcOrd="0" destOrd="0" presId="urn:microsoft.com/office/officeart/2005/8/layout/radial6"/>
    <dgm:cxn modelId="{259AB628-8557-4099-9B7B-409699977678}" srcId="{4AB20BAC-50AB-4E9A-A81F-AFC34B6BBC5A}" destId="{0B1C53B0-2059-4301-A95E-3984C5A24B8C}" srcOrd="0" destOrd="0" parTransId="{713A30DF-F3E3-4070-A01B-9C1D789EC223}" sibTransId="{8E5A61E7-2145-4FA0-AC51-0959ADE74822}"/>
    <dgm:cxn modelId="{96E3EB5F-0125-4403-9D79-278A6DF728BD}" type="presOf" srcId="{AEC05586-746F-4A5B-B615-D38248B41660}" destId="{4370FAD4-A0DA-49EC-AE4A-89BCB1DB6970}" srcOrd="0" destOrd="0" presId="urn:microsoft.com/office/officeart/2005/8/layout/radial6"/>
    <dgm:cxn modelId="{0EC04346-D3A3-45DE-AC20-BB43DD958E49}" srcId="{0B1C53B0-2059-4301-A95E-3984C5A24B8C}" destId="{6EA5F817-F2D1-40F2-86A5-24ED238781E4}" srcOrd="2" destOrd="0" parTransId="{ED67650B-5E99-4F32-BE6C-92AE7A5C2A9B}" sibTransId="{DA7C03E3-B87C-42C4-AFFB-C34244716E4D}"/>
    <dgm:cxn modelId="{FF6CA267-DA54-4E38-93BA-3893FFD3AFB2}" type="presOf" srcId="{0B1C53B0-2059-4301-A95E-3984C5A24B8C}" destId="{FD698645-F894-41AA-B351-063E8ED81A27}" srcOrd="0" destOrd="0" presId="urn:microsoft.com/office/officeart/2005/8/layout/radial6"/>
    <dgm:cxn modelId="{EB34DC8B-825C-4E31-BC27-352D858B9DFC}" type="presOf" srcId="{CF1269FA-8F1B-423B-B86C-3EB615A60958}" destId="{D5CA9756-C80F-457A-AE90-86D6B49E155C}" srcOrd="0" destOrd="0" presId="urn:microsoft.com/office/officeart/2005/8/layout/radial6"/>
    <dgm:cxn modelId="{E45D6390-E846-49EB-8E26-ADB5ED6290F4}" type="presOf" srcId="{B61A0D93-9590-4A1C-8FB5-17BA9EB36D4B}" destId="{593C6C92-DB1C-447B-A454-B6F4C73278F4}" srcOrd="0" destOrd="0" presId="urn:microsoft.com/office/officeart/2005/8/layout/radial6"/>
    <dgm:cxn modelId="{F0D8CEAE-4287-4218-92F5-8C513EF70563}" srcId="{0B1C53B0-2059-4301-A95E-3984C5A24B8C}" destId="{AEC05586-746F-4A5B-B615-D38248B41660}" srcOrd="1" destOrd="0" parTransId="{308A5C2A-D952-47C5-9E40-0EC335500E31}" sibTransId="{B61A0D93-9590-4A1C-8FB5-17BA9EB36D4B}"/>
    <dgm:cxn modelId="{0AA887DD-45FF-4573-BDDA-0E9D3BA03139}" type="presOf" srcId="{4AB20BAC-50AB-4E9A-A81F-AFC34B6BBC5A}" destId="{AC6B1590-E593-4F0A-88A3-61E00CDB11CD}" srcOrd="0" destOrd="0" presId="urn:microsoft.com/office/officeart/2005/8/layout/radial6"/>
    <dgm:cxn modelId="{0CCFD2FD-B755-46D9-BD79-FF13BE6B8238}" type="presOf" srcId="{DA7C03E3-B87C-42C4-AFFB-C34244716E4D}" destId="{66C28DBB-51A5-4C83-8020-DEEC1A4FFD3D}" srcOrd="0" destOrd="0" presId="urn:microsoft.com/office/officeart/2005/8/layout/radial6"/>
    <dgm:cxn modelId="{55BC849E-012B-49D5-8138-6B9E9CD7004A}" type="presParOf" srcId="{AC6B1590-E593-4F0A-88A3-61E00CDB11CD}" destId="{FD698645-F894-41AA-B351-063E8ED81A27}" srcOrd="0" destOrd="0" presId="urn:microsoft.com/office/officeart/2005/8/layout/radial6"/>
    <dgm:cxn modelId="{905B25A4-A872-4A3F-8351-37BD9BD08A25}" type="presParOf" srcId="{AC6B1590-E593-4F0A-88A3-61E00CDB11CD}" destId="{9110FEF6-01FE-4FF2-AEF5-AC31D26583C2}" srcOrd="1" destOrd="0" presId="urn:microsoft.com/office/officeart/2005/8/layout/radial6"/>
    <dgm:cxn modelId="{A6C22D32-5699-4D1D-A3AA-AFAE03B0704D}" type="presParOf" srcId="{AC6B1590-E593-4F0A-88A3-61E00CDB11CD}" destId="{99C2B632-6EFD-4871-BC26-8C39056608C5}" srcOrd="2" destOrd="0" presId="urn:microsoft.com/office/officeart/2005/8/layout/radial6"/>
    <dgm:cxn modelId="{609E6A5C-F5B8-4FD5-826E-32252535DEE0}" type="presParOf" srcId="{AC6B1590-E593-4F0A-88A3-61E00CDB11CD}" destId="{D5CA9756-C80F-457A-AE90-86D6B49E155C}" srcOrd="3" destOrd="0" presId="urn:microsoft.com/office/officeart/2005/8/layout/radial6"/>
    <dgm:cxn modelId="{88FE7893-41C2-433D-96A0-B169B48EAE2A}" type="presParOf" srcId="{AC6B1590-E593-4F0A-88A3-61E00CDB11CD}" destId="{4370FAD4-A0DA-49EC-AE4A-89BCB1DB6970}" srcOrd="4" destOrd="0" presId="urn:microsoft.com/office/officeart/2005/8/layout/radial6"/>
    <dgm:cxn modelId="{04B6365B-8868-481F-9816-7E915828F04E}" type="presParOf" srcId="{AC6B1590-E593-4F0A-88A3-61E00CDB11CD}" destId="{15698508-405C-4AAE-9E2F-35207EEA1202}" srcOrd="5" destOrd="0" presId="urn:microsoft.com/office/officeart/2005/8/layout/radial6"/>
    <dgm:cxn modelId="{5F2C7787-7F4A-4AD0-83C3-AAAFC5E8A810}" type="presParOf" srcId="{AC6B1590-E593-4F0A-88A3-61E00CDB11CD}" destId="{593C6C92-DB1C-447B-A454-B6F4C73278F4}" srcOrd="6" destOrd="0" presId="urn:microsoft.com/office/officeart/2005/8/layout/radial6"/>
    <dgm:cxn modelId="{FF02EE38-F49A-4385-8947-B9042584C798}" type="presParOf" srcId="{AC6B1590-E593-4F0A-88A3-61E00CDB11CD}" destId="{52E43205-0459-49BB-91E0-EE30148258C4}" srcOrd="7" destOrd="0" presId="urn:microsoft.com/office/officeart/2005/8/layout/radial6"/>
    <dgm:cxn modelId="{CC73B739-9EF9-4A4D-914C-AF2FF0C64599}" type="presParOf" srcId="{AC6B1590-E593-4F0A-88A3-61E00CDB11CD}" destId="{59910D7B-C8E5-4895-9248-082E7B774FBE}" srcOrd="8" destOrd="0" presId="urn:microsoft.com/office/officeart/2005/8/layout/radial6"/>
    <dgm:cxn modelId="{7B2865DD-0725-42AE-A615-1CA89AAC58BC}" type="presParOf" srcId="{AC6B1590-E593-4F0A-88A3-61E00CDB11CD}" destId="{66C28DBB-51A5-4C83-8020-DEEC1A4FFD3D}" srcOrd="9"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F106DB-3A3D-4A36-92FA-9E8D8D32E08B}" type="doc">
      <dgm:prSet loTypeId="urn:microsoft.com/office/officeart/2011/layout/CircleProcess" loCatId="process" qsTypeId="urn:microsoft.com/office/officeart/2005/8/quickstyle/simple3" qsCatId="simple" csTypeId="urn:microsoft.com/office/officeart/2005/8/colors/accent1_4" csCatId="accent1" phldr="1"/>
      <dgm:spPr/>
      <dgm:t>
        <a:bodyPr/>
        <a:lstStyle/>
        <a:p>
          <a:endParaRPr lang="en-US"/>
        </a:p>
      </dgm:t>
    </dgm:pt>
    <dgm:pt modelId="{53E60A79-C26D-4CE7-B071-8E1BA7747162}">
      <dgm:prSet phldrT="[Text]"/>
      <dgm:spPr/>
      <dgm:t>
        <a:bodyPr/>
        <a:lstStyle/>
        <a:p>
          <a:r>
            <a:rPr lang="en-US" b="1">
              <a:latin typeface="Arial"/>
              <a:cs typeface="Arial"/>
            </a:rPr>
            <a:t>Optimize the Models</a:t>
          </a:r>
        </a:p>
      </dgm:t>
    </dgm:pt>
    <dgm:pt modelId="{B5BCC2C3-7043-41C5-A41A-53DB2933A0F9}" type="parTrans" cxnId="{0928AEEC-DB5B-409A-B3B5-5C1975B698B9}">
      <dgm:prSet/>
      <dgm:spPr/>
      <dgm:t>
        <a:bodyPr/>
        <a:lstStyle/>
        <a:p>
          <a:endParaRPr lang="en-US" b="1"/>
        </a:p>
      </dgm:t>
    </dgm:pt>
    <dgm:pt modelId="{3B0416CE-0FD1-4401-9CDB-94C65CD23DA3}" type="sibTrans" cxnId="{0928AEEC-DB5B-409A-B3B5-5C1975B698B9}">
      <dgm:prSet/>
      <dgm:spPr/>
      <dgm:t>
        <a:bodyPr/>
        <a:lstStyle/>
        <a:p>
          <a:endParaRPr lang="en-US" b="1"/>
        </a:p>
      </dgm:t>
    </dgm:pt>
    <dgm:pt modelId="{F8319C9F-4B19-49F8-966D-41117E7193F9}">
      <dgm:prSet phldrT="[Text]"/>
      <dgm:spPr/>
      <dgm:t>
        <a:bodyPr/>
        <a:lstStyle/>
        <a:p>
          <a:pPr rtl="0"/>
          <a:r>
            <a:rPr lang="en-US" b="1">
              <a:latin typeface="Arial"/>
              <a:cs typeface="Arial"/>
            </a:rPr>
            <a:t>Apply Advanced DL Algorithms </a:t>
          </a:r>
        </a:p>
      </dgm:t>
    </dgm:pt>
    <dgm:pt modelId="{C9EFDB40-3BBC-4835-A2E6-5A08D4AC6247}" type="parTrans" cxnId="{EE6F46AE-FB5E-41AD-BF74-549E53B3D32F}">
      <dgm:prSet/>
      <dgm:spPr/>
      <dgm:t>
        <a:bodyPr/>
        <a:lstStyle/>
        <a:p>
          <a:endParaRPr lang="en-US" b="1"/>
        </a:p>
      </dgm:t>
    </dgm:pt>
    <dgm:pt modelId="{48407681-EFC3-43E7-A304-37BE8EC6D338}" type="sibTrans" cxnId="{EE6F46AE-FB5E-41AD-BF74-549E53B3D32F}">
      <dgm:prSet/>
      <dgm:spPr/>
      <dgm:t>
        <a:bodyPr/>
        <a:lstStyle/>
        <a:p>
          <a:endParaRPr lang="en-US" b="1"/>
        </a:p>
      </dgm:t>
    </dgm:pt>
    <dgm:pt modelId="{9D8B384F-B23B-419B-980D-E253EC3F77F5}">
      <dgm:prSet phldrT="[Text]"/>
      <dgm:spPr/>
      <dgm:t>
        <a:bodyPr/>
        <a:lstStyle/>
        <a:p>
          <a:r>
            <a:rPr lang="en-US" b="1">
              <a:latin typeface="Arial"/>
              <a:cs typeface="Arial"/>
            </a:rPr>
            <a:t>Add High Res. Satellite Data as Input</a:t>
          </a:r>
        </a:p>
      </dgm:t>
    </dgm:pt>
    <dgm:pt modelId="{FFCD2E7C-BA11-4EB0-BD5E-A6760AE89CA8}" type="parTrans" cxnId="{458E1AEE-6FB9-44A2-9D78-D4EED23A93BD}">
      <dgm:prSet/>
      <dgm:spPr/>
      <dgm:t>
        <a:bodyPr/>
        <a:lstStyle/>
        <a:p>
          <a:endParaRPr lang="en-US" b="1"/>
        </a:p>
      </dgm:t>
    </dgm:pt>
    <dgm:pt modelId="{75D7440D-BCE7-4D67-8C28-31B1482846E4}" type="sibTrans" cxnId="{458E1AEE-6FB9-44A2-9D78-D4EED23A93BD}">
      <dgm:prSet/>
      <dgm:spPr/>
      <dgm:t>
        <a:bodyPr/>
        <a:lstStyle/>
        <a:p>
          <a:endParaRPr lang="en-US" b="1"/>
        </a:p>
      </dgm:t>
    </dgm:pt>
    <dgm:pt modelId="{B5402252-19D1-4381-BBAE-AEB05445EB98}">
      <dgm:prSet phldrT="[Text]"/>
      <dgm:spPr/>
      <dgm:t>
        <a:bodyPr/>
        <a:lstStyle/>
        <a:p>
          <a:pPr rtl="0"/>
          <a:r>
            <a:rPr lang="en-US" b="1">
              <a:latin typeface="Arial"/>
              <a:cs typeface="Arial"/>
            </a:rPr>
            <a:t>Integrate Env Sensor and Weather Station Data for Validation</a:t>
          </a:r>
        </a:p>
      </dgm:t>
    </dgm:pt>
    <dgm:pt modelId="{B08DF314-AF86-42FA-8C2C-9901A78EDBFA}" type="parTrans" cxnId="{73D8A0EC-E2E1-481C-A553-87577E2F94EF}">
      <dgm:prSet/>
      <dgm:spPr/>
      <dgm:t>
        <a:bodyPr/>
        <a:lstStyle/>
        <a:p>
          <a:endParaRPr lang="en-US" b="1"/>
        </a:p>
      </dgm:t>
    </dgm:pt>
    <dgm:pt modelId="{8E23AAF8-ACE1-43F6-8DF9-262E20D59972}" type="sibTrans" cxnId="{73D8A0EC-E2E1-481C-A553-87577E2F94EF}">
      <dgm:prSet/>
      <dgm:spPr/>
      <dgm:t>
        <a:bodyPr/>
        <a:lstStyle/>
        <a:p>
          <a:endParaRPr lang="en-US" b="1"/>
        </a:p>
      </dgm:t>
    </dgm:pt>
    <dgm:pt modelId="{70F68F09-6633-47CE-B41C-0607D4945AFD}">
      <dgm:prSet phldrT="[Text]"/>
      <dgm:spPr/>
      <dgm:t>
        <a:bodyPr/>
        <a:lstStyle/>
        <a:p>
          <a:r>
            <a:rPr lang="en-US" b="1">
              <a:latin typeface="Arial"/>
              <a:cs typeface="Arial"/>
            </a:rPr>
            <a:t>Train the Models with Data from Different Regions</a:t>
          </a:r>
        </a:p>
      </dgm:t>
    </dgm:pt>
    <dgm:pt modelId="{4D3E6346-CD14-4533-A50E-E563D4BBC258}" type="parTrans" cxnId="{F4AD2229-858A-4754-8457-138923247942}">
      <dgm:prSet/>
      <dgm:spPr/>
      <dgm:t>
        <a:bodyPr/>
        <a:lstStyle/>
        <a:p>
          <a:endParaRPr lang="en-US"/>
        </a:p>
      </dgm:t>
    </dgm:pt>
    <dgm:pt modelId="{7731E4D9-CDC6-4CAF-9496-3BAE18055E56}" type="sibTrans" cxnId="{F4AD2229-858A-4754-8457-138923247942}">
      <dgm:prSet/>
      <dgm:spPr/>
      <dgm:t>
        <a:bodyPr/>
        <a:lstStyle/>
        <a:p>
          <a:endParaRPr lang="en-US"/>
        </a:p>
      </dgm:t>
    </dgm:pt>
    <dgm:pt modelId="{4F80C3A0-B64A-4278-9E33-17937F774139}" type="pres">
      <dgm:prSet presAssocID="{4AF106DB-3A3D-4A36-92FA-9E8D8D32E08B}" presName="Name0" presStyleCnt="0">
        <dgm:presLayoutVars>
          <dgm:chMax val="11"/>
          <dgm:chPref val="11"/>
          <dgm:dir/>
          <dgm:resizeHandles/>
        </dgm:presLayoutVars>
      </dgm:prSet>
      <dgm:spPr/>
    </dgm:pt>
    <dgm:pt modelId="{A42EC9CF-7C03-4C2C-8F2B-00F73C7C3C56}" type="pres">
      <dgm:prSet presAssocID="{B5402252-19D1-4381-BBAE-AEB05445EB98}" presName="Accent5" presStyleCnt="0"/>
      <dgm:spPr/>
    </dgm:pt>
    <dgm:pt modelId="{5DED2D52-3C98-4EB9-B937-2DA353722BF4}" type="pres">
      <dgm:prSet presAssocID="{B5402252-19D1-4381-BBAE-AEB05445EB98}" presName="Accent" presStyleLbl="node1" presStyleIdx="0" presStyleCnt="5"/>
      <dgm:spPr/>
    </dgm:pt>
    <dgm:pt modelId="{313FCB53-9017-4E7E-B0D0-398FB411351A}" type="pres">
      <dgm:prSet presAssocID="{B5402252-19D1-4381-BBAE-AEB05445EB98}" presName="ParentBackground5" presStyleCnt="0"/>
      <dgm:spPr/>
    </dgm:pt>
    <dgm:pt modelId="{22533385-1974-4F95-8EBD-28DADA765DA7}" type="pres">
      <dgm:prSet presAssocID="{B5402252-19D1-4381-BBAE-AEB05445EB98}" presName="ParentBackground" presStyleLbl="fgAcc1" presStyleIdx="0" presStyleCnt="5"/>
      <dgm:spPr/>
    </dgm:pt>
    <dgm:pt modelId="{A39D8A1B-45CC-43AB-8FD7-A9C11F127545}" type="pres">
      <dgm:prSet presAssocID="{B5402252-19D1-4381-BBAE-AEB05445EB98}" presName="Parent5" presStyleLbl="revTx" presStyleIdx="0" presStyleCnt="0">
        <dgm:presLayoutVars>
          <dgm:chMax val="1"/>
          <dgm:chPref val="1"/>
          <dgm:bulletEnabled val="1"/>
        </dgm:presLayoutVars>
      </dgm:prSet>
      <dgm:spPr/>
    </dgm:pt>
    <dgm:pt modelId="{07274615-9785-4B76-B955-AF7E677629B1}" type="pres">
      <dgm:prSet presAssocID="{9D8B384F-B23B-419B-980D-E253EC3F77F5}" presName="Accent4" presStyleCnt="0"/>
      <dgm:spPr/>
    </dgm:pt>
    <dgm:pt modelId="{7D7A18AF-7F16-49E1-857B-1CDB22A52C37}" type="pres">
      <dgm:prSet presAssocID="{9D8B384F-B23B-419B-980D-E253EC3F77F5}" presName="Accent" presStyleLbl="node1" presStyleIdx="1" presStyleCnt="5"/>
      <dgm:spPr/>
    </dgm:pt>
    <dgm:pt modelId="{D054206C-2083-4E07-8AF1-FAEE2D195E5C}" type="pres">
      <dgm:prSet presAssocID="{9D8B384F-B23B-419B-980D-E253EC3F77F5}" presName="ParentBackground4" presStyleCnt="0"/>
      <dgm:spPr/>
    </dgm:pt>
    <dgm:pt modelId="{5E3BF69A-4BF3-4A2F-8BC9-F81FC2610AC3}" type="pres">
      <dgm:prSet presAssocID="{9D8B384F-B23B-419B-980D-E253EC3F77F5}" presName="ParentBackground" presStyleLbl="fgAcc1" presStyleIdx="1" presStyleCnt="5"/>
      <dgm:spPr/>
    </dgm:pt>
    <dgm:pt modelId="{626F0B78-E6E6-4734-9410-38A13E49D389}" type="pres">
      <dgm:prSet presAssocID="{9D8B384F-B23B-419B-980D-E253EC3F77F5}" presName="Parent4" presStyleLbl="revTx" presStyleIdx="0" presStyleCnt="0">
        <dgm:presLayoutVars>
          <dgm:chMax val="1"/>
          <dgm:chPref val="1"/>
          <dgm:bulletEnabled val="1"/>
        </dgm:presLayoutVars>
      </dgm:prSet>
      <dgm:spPr/>
    </dgm:pt>
    <dgm:pt modelId="{3352B5DB-0473-4D02-8867-C01FC018ADD9}" type="pres">
      <dgm:prSet presAssocID="{F8319C9F-4B19-49F8-966D-41117E7193F9}" presName="Accent3" presStyleCnt="0"/>
      <dgm:spPr/>
    </dgm:pt>
    <dgm:pt modelId="{9DB6CB3C-47A4-4364-B0D6-E21F89875F0C}" type="pres">
      <dgm:prSet presAssocID="{F8319C9F-4B19-49F8-966D-41117E7193F9}" presName="Accent" presStyleLbl="node1" presStyleIdx="2" presStyleCnt="5"/>
      <dgm:spPr/>
    </dgm:pt>
    <dgm:pt modelId="{C3B361DD-51F8-4560-B36E-1143D4A71D49}" type="pres">
      <dgm:prSet presAssocID="{F8319C9F-4B19-49F8-966D-41117E7193F9}" presName="ParentBackground3" presStyleCnt="0"/>
      <dgm:spPr/>
    </dgm:pt>
    <dgm:pt modelId="{0660DA22-E610-4AFA-A08F-DC91DD39A581}" type="pres">
      <dgm:prSet presAssocID="{F8319C9F-4B19-49F8-966D-41117E7193F9}" presName="ParentBackground" presStyleLbl="fgAcc1" presStyleIdx="2" presStyleCnt="5"/>
      <dgm:spPr/>
    </dgm:pt>
    <dgm:pt modelId="{C59C2D1F-00F0-4CC9-A01D-0B54270108DE}" type="pres">
      <dgm:prSet presAssocID="{F8319C9F-4B19-49F8-966D-41117E7193F9}" presName="Parent3" presStyleLbl="revTx" presStyleIdx="0" presStyleCnt="0">
        <dgm:presLayoutVars>
          <dgm:chMax val="1"/>
          <dgm:chPref val="1"/>
          <dgm:bulletEnabled val="1"/>
        </dgm:presLayoutVars>
      </dgm:prSet>
      <dgm:spPr/>
    </dgm:pt>
    <dgm:pt modelId="{139B9F6C-66F7-48A8-9009-FC892C60790E}" type="pres">
      <dgm:prSet presAssocID="{53E60A79-C26D-4CE7-B071-8E1BA7747162}" presName="Accent2" presStyleCnt="0"/>
      <dgm:spPr/>
    </dgm:pt>
    <dgm:pt modelId="{D4D610C9-F132-4B52-A171-1C01F3284D97}" type="pres">
      <dgm:prSet presAssocID="{53E60A79-C26D-4CE7-B071-8E1BA7747162}" presName="Accent" presStyleLbl="node1" presStyleIdx="3" presStyleCnt="5"/>
      <dgm:spPr/>
    </dgm:pt>
    <dgm:pt modelId="{5C4B0A6B-DDFF-462E-8350-6CF14EE27381}" type="pres">
      <dgm:prSet presAssocID="{53E60A79-C26D-4CE7-B071-8E1BA7747162}" presName="ParentBackground2" presStyleCnt="0"/>
      <dgm:spPr/>
    </dgm:pt>
    <dgm:pt modelId="{5F82348E-26C6-4ACA-B411-7427BC11582F}" type="pres">
      <dgm:prSet presAssocID="{53E60A79-C26D-4CE7-B071-8E1BA7747162}" presName="ParentBackground" presStyleLbl="fgAcc1" presStyleIdx="3" presStyleCnt="5"/>
      <dgm:spPr/>
    </dgm:pt>
    <dgm:pt modelId="{E7F2E60B-9700-4899-9EA7-2956059B0309}" type="pres">
      <dgm:prSet presAssocID="{53E60A79-C26D-4CE7-B071-8E1BA7747162}" presName="Parent2" presStyleLbl="revTx" presStyleIdx="0" presStyleCnt="0">
        <dgm:presLayoutVars>
          <dgm:chMax val="1"/>
          <dgm:chPref val="1"/>
          <dgm:bulletEnabled val="1"/>
        </dgm:presLayoutVars>
      </dgm:prSet>
      <dgm:spPr/>
    </dgm:pt>
    <dgm:pt modelId="{8150C6F5-5F60-4E49-BA7C-1EA2C75E26AF}" type="pres">
      <dgm:prSet presAssocID="{70F68F09-6633-47CE-B41C-0607D4945AFD}" presName="Accent1" presStyleCnt="0"/>
      <dgm:spPr/>
    </dgm:pt>
    <dgm:pt modelId="{199D0B31-D934-4DCA-879C-9CF3254994D7}" type="pres">
      <dgm:prSet presAssocID="{70F68F09-6633-47CE-B41C-0607D4945AFD}" presName="Accent" presStyleLbl="node1" presStyleIdx="4" presStyleCnt="5"/>
      <dgm:spPr/>
    </dgm:pt>
    <dgm:pt modelId="{FBFBE43B-DDDE-4314-83A7-0166EFC707CA}" type="pres">
      <dgm:prSet presAssocID="{70F68F09-6633-47CE-B41C-0607D4945AFD}" presName="ParentBackground1" presStyleCnt="0"/>
      <dgm:spPr/>
    </dgm:pt>
    <dgm:pt modelId="{5C3BA3B2-9248-4A1D-9F88-446FD2699906}" type="pres">
      <dgm:prSet presAssocID="{70F68F09-6633-47CE-B41C-0607D4945AFD}" presName="ParentBackground" presStyleLbl="fgAcc1" presStyleIdx="4" presStyleCnt="5"/>
      <dgm:spPr/>
    </dgm:pt>
    <dgm:pt modelId="{8E6B037C-FBF3-4801-AF13-AC10970FF842}" type="pres">
      <dgm:prSet presAssocID="{70F68F09-6633-47CE-B41C-0607D4945AFD}" presName="Parent1" presStyleLbl="revTx" presStyleIdx="0" presStyleCnt="0">
        <dgm:presLayoutVars>
          <dgm:chMax val="1"/>
          <dgm:chPref val="1"/>
          <dgm:bulletEnabled val="1"/>
        </dgm:presLayoutVars>
      </dgm:prSet>
      <dgm:spPr/>
    </dgm:pt>
  </dgm:ptLst>
  <dgm:cxnLst>
    <dgm:cxn modelId="{5BD42306-B976-4F19-BB32-2732B61928A2}" type="presOf" srcId="{F8319C9F-4B19-49F8-966D-41117E7193F9}" destId="{0660DA22-E610-4AFA-A08F-DC91DD39A581}" srcOrd="0" destOrd="0" presId="urn:microsoft.com/office/officeart/2011/layout/CircleProcess"/>
    <dgm:cxn modelId="{7E96C80A-F7DD-49D4-8196-79D725CDFF70}" type="presOf" srcId="{B5402252-19D1-4381-BBAE-AEB05445EB98}" destId="{A39D8A1B-45CC-43AB-8FD7-A9C11F127545}" srcOrd="1" destOrd="0" presId="urn:microsoft.com/office/officeart/2011/layout/CircleProcess"/>
    <dgm:cxn modelId="{A6D48B28-523C-4F54-9F17-953EDF7FC609}" type="presOf" srcId="{F8319C9F-4B19-49F8-966D-41117E7193F9}" destId="{C59C2D1F-00F0-4CC9-A01D-0B54270108DE}" srcOrd="1" destOrd="0" presId="urn:microsoft.com/office/officeart/2011/layout/CircleProcess"/>
    <dgm:cxn modelId="{F4AD2229-858A-4754-8457-138923247942}" srcId="{4AF106DB-3A3D-4A36-92FA-9E8D8D32E08B}" destId="{70F68F09-6633-47CE-B41C-0607D4945AFD}" srcOrd="0" destOrd="0" parTransId="{4D3E6346-CD14-4533-A50E-E563D4BBC258}" sibTransId="{7731E4D9-CDC6-4CAF-9496-3BAE18055E56}"/>
    <dgm:cxn modelId="{5379B25D-5F1C-4296-93AA-E4455FD82025}" type="presOf" srcId="{4AF106DB-3A3D-4A36-92FA-9E8D8D32E08B}" destId="{4F80C3A0-B64A-4278-9E33-17937F774139}" srcOrd="0" destOrd="0" presId="urn:microsoft.com/office/officeart/2011/layout/CircleProcess"/>
    <dgm:cxn modelId="{A0AAA942-47F5-41EC-8387-E43825644FE4}" type="presOf" srcId="{9D8B384F-B23B-419B-980D-E253EC3F77F5}" destId="{5E3BF69A-4BF3-4A2F-8BC9-F81FC2610AC3}" srcOrd="0" destOrd="0" presId="urn:microsoft.com/office/officeart/2011/layout/CircleProcess"/>
    <dgm:cxn modelId="{68C52176-77B2-4B60-8123-15B8BDCF7495}" type="presOf" srcId="{70F68F09-6633-47CE-B41C-0607D4945AFD}" destId="{5C3BA3B2-9248-4A1D-9F88-446FD2699906}" srcOrd="0" destOrd="0" presId="urn:microsoft.com/office/officeart/2011/layout/CircleProcess"/>
    <dgm:cxn modelId="{F76E3F7F-60B6-4FE6-BAFA-F4FA5CC3E235}" type="presOf" srcId="{70F68F09-6633-47CE-B41C-0607D4945AFD}" destId="{8E6B037C-FBF3-4801-AF13-AC10970FF842}" srcOrd="1" destOrd="0" presId="urn:microsoft.com/office/officeart/2011/layout/CircleProcess"/>
    <dgm:cxn modelId="{AEE8CC9F-A048-4594-898E-FB8E6F0DA8DF}" type="presOf" srcId="{53E60A79-C26D-4CE7-B071-8E1BA7747162}" destId="{E7F2E60B-9700-4899-9EA7-2956059B0309}" srcOrd="1" destOrd="0" presId="urn:microsoft.com/office/officeart/2011/layout/CircleProcess"/>
    <dgm:cxn modelId="{343D37A0-36FE-43E8-AE37-DF5AF12E6DE8}" type="presOf" srcId="{B5402252-19D1-4381-BBAE-AEB05445EB98}" destId="{22533385-1974-4F95-8EBD-28DADA765DA7}" srcOrd="0" destOrd="0" presId="urn:microsoft.com/office/officeart/2011/layout/CircleProcess"/>
    <dgm:cxn modelId="{F913E9A9-2D22-4055-8F9A-433FCE487A0E}" type="presOf" srcId="{53E60A79-C26D-4CE7-B071-8E1BA7747162}" destId="{5F82348E-26C6-4ACA-B411-7427BC11582F}" srcOrd="0" destOrd="0" presId="urn:microsoft.com/office/officeart/2011/layout/CircleProcess"/>
    <dgm:cxn modelId="{EE6F46AE-FB5E-41AD-BF74-549E53B3D32F}" srcId="{4AF106DB-3A3D-4A36-92FA-9E8D8D32E08B}" destId="{F8319C9F-4B19-49F8-966D-41117E7193F9}" srcOrd="2" destOrd="0" parTransId="{C9EFDB40-3BBC-4835-A2E6-5A08D4AC6247}" sibTransId="{48407681-EFC3-43E7-A304-37BE8EC6D338}"/>
    <dgm:cxn modelId="{3EF2AFE9-E6DA-4D23-A7CF-05EED0709943}" type="presOf" srcId="{9D8B384F-B23B-419B-980D-E253EC3F77F5}" destId="{626F0B78-E6E6-4734-9410-38A13E49D389}" srcOrd="1" destOrd="0" presId="urn:microsoft.com/office/officeart/2011/layout/CircleProcess"/>
    <dgm:cxn modelId="{73D8A0EC-E2E1-481C-A553-87577E2F94EF}" srcId="{4AF106DB-3A3D-4A36-92FA-9E8D8D32E08B}" destId="{B5402252-19D1-4381-BBAE-AEB05445EB98}" srcOrd="4" destOrd="0" parTransId="{B08DF314-AF86-42FA-8C2C-9901A78EDBFA}" sibTransId="{8E23AAF8-ACE1-43F6-8DF9-262E20D59972}"/>
    <dgm:cxn modelId="{0928AEEC-DB5B-409A-B3B5-5C1975B698B9}" srcId="{4AF106DB-3A3D-4A36-92FA-9E8D8D32E08B}" destId="{53E60A79-C26D-4CE7-B071-8E1BA7747162}" srcOrd="1" destOrd="0" parTransId="{B5BCC2C3-7043-41C5-A41A-53DB2933A0F9}" sibTransId="{3B0416CE-0FD1-4401-9CDB-94C65CD23DA3}"/>
    <dgm:cxn modelId="{458E1AEE-6FB9-44A2-9D78-D4EED23A93BD}" srcId="{4AF106DB-3A3D-4A36-92FA-9E8D8D32E08B}" destId="{9D8B384F-B23B-419B-980D-E253EC3F77F5}" srcOrd="3" destOrd="0" parTransId="{FFCD2E7C-BA11-4EB0-BD5E-A6760AE89CA8}" sibTransId="{75D7440D-BCE7-4D67-8C28-31B1482846E4}"/>
    <dgm:cxn modelId="{A031EBCE-AC9F-41DC-A31F-49042C3CFDFE}" type="presParOf" srcId="{4F80C3A0-B64A-4278-9E33-17937F774139}" destId="{A42EC9CF-7C03-4C2C-8F2B-00F73C7C3C56}" srcOrd="0" destOrd="0" presId="urn:microsoft.com/office/officeart/2011/layout/CircleProcess"/>
    <dgm:cxn modelId="{C845B99A-48CD-43AA-B27B-9143BFD981BD}" type="presParOf" srcId="{A42EC9CF-7C03-4C2C-8F2B-00F73C7C3C56}" destId="{5DED2D52-3C98-4EB9-B937-2DA353722BF4}" srcOrd="0" destOrd="0" presId="urn:microsoft.com/office/officeart/2011/layout/CircleProcess"/>
    <dgm:cxn modelId="{147A4732-9B67-4F3D-9938-5B4C207F5F53}" type="presParOf" srcId="{4F80C3A0-B64A-4278-9E33-17937F774139}" destId="{313FCB53-9017-4E7E-B0D0-398FB411351A}" srcOrd="1" destOrd="0" presId="urn:microsoft.com/office/officeart/2011/layout/CircleProcess"/>
    <dgm:cxn modelId="{BD4D3BE2-2DA4-4756-996F-5785F9E01E47}" type="presParOf" srcId="{313FCB53-9017-4E7E-B0D0-398FB411351A}" destId="{22533385-1974-4F95-8EBD-28DADA765DA7}" srcOrd="0" destOrd="0" presId="urn:microsoft.com/office/officeart/2011/layout/CircleProcess"/>
    <dgm:cxn modelId="{F8A174CD-57A2-4E94-BF84-492D9712758F}" type="presParOf" srcId="{4F80C3A0-B64A-4278-9E33-17937F774139}" destId="{A39D8A1B-45CC-43AB-8FD7-A9C11F127545}" srcOrd="2" destOrd="0" presId="urn:microsoft.com/office/officeart/2011/layout/CircleProcess"/>
    <dgm:cxn modelId="{481543DB-2FB0-4A96-B910-C318E158A370}" type="presParOf" srcId="{4F80C3A0-B64A-4278-9E33-17937F774139}" destId="{07274615-9785-4B76-B955-AF7E677629B1}" srcOrd="3" destOrd="0" presId="urn:microsoft.com/office/officeart/2011/layout/CircleProcess"/>
    <dgm:cxn modelId="{154D626D-947E-45C6-BDDD-A00C7BCC7F7A}" type="presParOf" srcId="{07274615-9785-4B76-B955-AF7E677629B1}" destId="{7D7A18AF-7F16-49E1-857B-1CDB22A52C37}" srcOrd="0" destOrd="0" presId="urn:microsoft.com/office/officeart/2011/layout/CircleProcess"/>
    <dgm:cxn modelId="{A482FEC7-8371-4E6D-B0CE-17AD619C7E77}" type="presParOf" srcId="{4F80C3A0-B64A-4278-9E33-17937F774139}" destId="{D054206C-2083-4E07-8AF1-FAEE2D195E5C}" srcOrd="4" destOrd="0" presId="urn:microsoft.com/office/officeart/2011/layout/CircleProcess"/>
    <dgm:cxn modelId="{6AEAEA88-B4F5-4BAF-9DC6-DA7C00897C7E}" type="presParOf" srcId="{D054206C-2083-4E07-8AF1-FAEE2D195E5C}" destId="{5E3BF69A-4BF3-4A2F-8BC9-F81FC2610AC3}" srcOrd="0" destOrd="0" presId="urn:microsoft.com/office/officeart/2011/layout/CircleProcess"/>
    <dgm:cxn modelId="{703B41D0-6A1D-4453-8161-39C6372A5326}" type="presParOf" srcId="{4F80C3A0-B64A-4278-9E33-17937F774139}" destId="{626F0B78-E6E6-4734-9410-38A13E49D389}" srcOrd="5" destOrd="0" presId="urn:microsoft.com/office/officeart/2011/layout/CircleProcess"/>
    <dgm:cxn modelId="{107AE742-3DE5-4BD3-A52D-F5499F35C8A3}" type="presParOf" srcId="{4F80C3A0-B64A-4278-9E33-17937F774139}" destId="{3352B5DB-0473-4D02-8867-C01FC018ADD9}" srcOrd="6" destOrd="0" presId="urn:microsoft.com/office/officeart/2011/layout/CircleProcess"/>
    <dgm:cxn modelId="{03031F5E-F1EA-48EB-B8B2-0437491F67F7}" type="presParOf" srcId="{3352B5DB-0473-4D02-8867-C01FC018ADD9}" destId="{9DB6CB3C-47A4-4364-B0D6-E21F89875F0C}" srcOrd="0" destOrd="0" presId="urn:microsoft.com/office/officeart/2011/layout/CircleProcess"/>
    <dgm:cxn modelId="{D750B04A-2FB8-44E0-8856-0AFC94488E79}" type="presParOf" srcId="{4F80C3A0-B64A-4278-9E33-17937F774139}" destId="{C3B361DD-51F8-4560-B36E-1143D4A71D49}" srcOrd="7" destOrd="0" presId="urn:microsoft.com/office/officeart/2011/layout/CircleProcess"/>
    <dgm:cxn modelId="{FC3E5578-FC63-41A0-98DC-7EA8EA9BECE8}" type="presParOf" srcId="{C3B361DD-51F8-4560-B36E-1143D4A71D49}" destId="{0660DA22-E610-4AFA-A08F-DC91DD39A581}" srcOrd="0" destOrd="0" presId="urn:microsoft.com/office/officeart/2011/layout/CircleProcess"/>
    <dgm:cxn modelId="{6858A2DE-1C0E-468C-9A19-6E6B84100E92}" type="presParOf" srcId="{4F80C3A0-B64A-4278-9E33-17937F774139}" destId="{C59C2D1F-00F0-4CC9-A01D-0B54270108DE}" srcOrd="8" destOrd="0" presId="urn:microsoft.com/office/officeart/2011/layout/CircleProcess"/>
    <dgm:cxn modelId="{031D9178-39AD-4D33-B3EA-819BDB061CDB}" type="presParOf" srcId="{4F80C3A0-B64A-4278-9E33-17937F774139}" destId="{139B9F6C-66F7-48A8-9009-FC892C60790E}" srcOrd="9" destOrd="0" presId="urn:microsoft.com/office/officeart/2011/layout/CircleProcess"/>
    <dgm:cxn modelId="{C498F3AF-DF7A-4E33-844A-4DD65C5A41AF}" type="presParOf" srcId="{139B9F6C-66F7-48A8-9009-FC892C60790E}" destId="{D4D610C9-F132-4B52-A171-1C01F3284D97}" srcOrd="0" destOrd="0" presId="urn:microsoft.com/office/officeart/2011/layout/CircleProcess"/>
    <dgm:cxn modelId="{8EA772A5-A708-4D92-9936-6CA693A2112E}" type="presParOf" srcId="{4F80C3A0-B64A-4278-9E33-17937F774139}" destId="{5C4B0A6B-DDFF-462E-8350-6CF14EE27381}" srcOrd="10" destOrd="0" presId="urn:microsoft.com/office/officeart/2011/layout/CircleProcess"/>
    <dgm:cxn modelId="{940EF710-0AE0-4499-8B30-59C5C529B631}" type="presParOf" srcId="{5C4B0A6B-DDFF-462E-8350-6CF14EE27381}" destId="{5F82348E-26C6-4ACA-B411-7427BC11582F}" srcOrd="0" destOrd="0" presId="urn:microsoft.com/office/officeart/2011/layout/CircleProcess"/>
    <dgm:cxn modelId="{13F9E4DE-D9BF-44EC-8FFD-6EE7FAE834BD}" type="presParOf" srcId="{4F80C3A0-B64A-4278-9E33-17937F774139}" destId="{E7F2E60B-9700-4899-9EA7-2956059B0309}" srcOrd="11" destOrd="0" presId="urn:microsoft.com/office/officeart/2011/layout/CircleProcess"/>
    <dgm:cxn modelId="{6C95AB85-F357-4523-BF6F-598B903C1485}" type="presParOf" srcId="{4F80C3A0-B64A-4278-9E33-17937F774139}" destId="{8150C6F5-5F60-4E49-BA7C-1EA2C75E26AF}" srcOrd="12" destOrd="0" presId="urn:microsoft.com/office/officeart/2011/layout/CircleProcess"/>
    <dgm:cxn modelId="{CF7BD1C9-B558-47F4-A6D1-E182FB63D7D2}" type="presParOf" srcId="{8150C6F5-5F60-4E49-BA7C-1EA2C75E26AF}" destId="{199D0B31-D934-4DCA-879C-9CF3254994D7}" srcOrd="0" destOrd="0" presId="urn:microsoft.com/office/officeart/2011/layout/CircleProcess"/>
    <dgm:cxn modelId="{57DC68FE-411C-4689-B932-67C2DDCBBE88}" type="presParOf" srcId="{4F80C3A0-B64A-4278-9E33-17937F774139}" destId="{FBFBE43B-DDDE-4314-83A7-0166EFC707CA}" srcOrd="13" destOrd="0" presId="urn:microsoft.com/office/officeart/2011/layout/CircleProcess"/>
    <dgm:cxn modelId="{7F3F2596-207F-4A69-8F3B-4E6DD665932E}" type="presParOf" srcId="{FBFBE43B-DDDE-4314-83A7-0166EFC707CA}" destId="{5C3BA3B2-9248-4A1D-9F88-446FD2699906}" srcOrd="0" destOrd="0" presId="urn:microsoft.com/office/officeart/2011/layout/CircleProcess"/>
    <dgm:cxn modelId="{D03BB5EE-DB03-4BC1-A8D3-80582C7E9CE3}" type="presParOf" srcId="{4F80C3A0-B64A-4278-9E33-17937F774139}" destId="{8E6B037C-FBF3-4801-AF13-AC10970FF842}" srcOrd="14"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4D488C-F995-C04E-8254-6D1D769275AC}">
      <dsp:nvSpPr>
        <dsp:cNvPr id="0" name=""/>
        <dsp:cNvSpPr/>
      </dsp:nvSpPr>
      <dsp:spPr>
        <a:xfrm>
          <a:off x="-3681105" y="389255"/>
          <a:ext cx="4387964" cy="4387964"/>
        </a:xfrm>
        <a:prstGeom prst="blockArc">
          <a:avLst>
            <a:gd name="adj1" fmla="val 18900000"/>
            <a:gd name="adj2" fmla="val 2700000"/>
            <a:gd name="adj3" fmla="val 492"/>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D90485D-E2FE-4C4B-9B8D-625C5D265FD7}">
      <dsp:nvSpPr>
        <dsp:cNvPr id="0" name=""/>
        <dsp:cNvSpPr/>
      </dsp:nvSpPr>
      <dsp:spPr>
        <a:xfrm>
          <a:off x="309949" y="1158314"/>
          <a:ext cx="2253067"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latin typeface="Arial"/>
              <a:cs typeface="Arial"/>
            </a:rPr>
            <a:t>understanding of germplasm response</a:t>
          </a:r>
        </a:p>
      </dsp:txBody>
      <dsp:txXfrm>
        <a:off x="309949" y="1158314"/>
        <a:ext cx="2253067" cy="407232"/>
      </dsp:txXfrm>
    </dsp:sp>
    <dsp:sp modelId="{F7D87AC4-6BD4-4555-B634-2B6697D44C4A}">
      <dsp:nvSpPr>
        <dsp:cNvPr id="0" name=""/>
        <dsp:cNvSpPr/>
      </dsp:nvSpPr>
      <dsp:spPr>
        <a:xfrm>
          <a:off x="186565" y="1233764"/>
          <a:ext cx="246767" cy="256332"/>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91547C8-BEEF-4B50-997C-D666D4BF5A77}">
      <dsp:nvSpPr>
        <dsp:cNvPr id="0" name=""/>
        <dsp:cNvSpPr/>
      </dsp:nvSpPr>
      <dsp:spPr>
        <a:xfrm>
          <a:off x="601760" y="1768968"/>
          <a:ext cx="1961256"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latin typeface="Arial"/>
              <a:cs typeface="Arial"/>
            </a:rPr>
            <a:t>G x E</a:t>
          </a:r>
        </a:p>
      </dsp:txBody>
      <dsp:txXfrm>
        <a:off x="601760" y="1768968"/>
        <a:ext cx="1961256" cy="407232"/>
      </dsp:txXfrm>
    </dsp:sp>
    <dsp:sp modelId="{5B4EE567-219F-AD4B-B9CA-CAD2F4F1E79E}">
      <dsp:nvSpPr>
        <dsp:cNvPr id="0" name=""/>
        <dsp:cNvSpPr/>
      </dsp:nvSpPr>
      <dsp:spPr>
        <a:xfrm>
          <a:off x="482652" y="1853476"/>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E1B0CC18-4735-4CA8-BDF5-F0547F729FAE}">
      <dsp:nvSpPr>
        <dsp:cNvPr id="0" name=""/>
        <dsp:cNvSpPr/>
      </dsp:nvSpPr>
      <dsp:spPr>
        <a:xfrm>
          <a:off x="691323" y="2379621"/>
          <a:ext cx="1871693"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latin typeface="Arial"/>
              <a:cs typeface="Arial"/>
            </a:rPr>
            <a:t>Testing Footprint Optimization</a:t>
          </a:r>
        </a:p>
      </dsp:txBody>
      <dsp:txXfrm>
        <a:off x="691323" y="2379621"/>
        <a:ext cx="1871693" cy="407232"/>
      </dsp:txXfrm>
    </dsp:sp>
    <dsp:sp modelId="{FD012FB0-3EE1-7C47-BA84-D2896AC1E983}">
      <dsp:nvSpPr>
        <dsp:cNvPr id="0" name=""/>
        <dsp:cNvSpPr/>
      </dsp:nvSpPr>
      <dsp:spPr>
        <a:xfrm>
          <a:off x="572215" y="2464130"/>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0B83F0EF-0FB0-4FDD-98F5-4DD8A89E3762}">
      <dsp:nvSpPr>
        <dsp:cNvPr id="0" name=""/>
        <dsp:cNvSpPr/>
      </dsp:nvSpPr>
      <dsp:spPr>
        <a:xfrm>
          <a:off x="601760" y="2990275"/>
          <a:ext cx="1961256"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latin typeface="Arial"/>
              <a:cs typeface="Arial"/>
            </a:rPr>
            <a:t>Alternative Testing Location</a:t>
          </a:r>
        </a:p>
      </dsp:txBody>
      <dsp:txXfrm>
        <a:off x="601760" y="2990275"/>
        <a:ext cx="1961256" cy="407232"/>
      </dsp:txXfrm>
    </dsp:sp>
    <dsp:sp modelId="{F3083065-5670-EB4C-826E-55C08C1442D9}">
      <dsp:nvSpPr>
        <dsp:cNvPr id="0" name=""/>
        <dsp:cNvSpPr/>
      </dsp:nvSpPr>
      <dsp:spPr>
        <a:xfrm>
          <a:off x="482652" y="3074783"/>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0785A900-8DE7-4397-8935-E374A98DF345}">
      <dsp:nvSpPr>
        <dsp:cNvPr id="0" name=""/>
        <dsp:cNvSpPr/>
      </dsp:nvSpPr>
      <dsp:spPr>
        <a:xfrm>
          <a:off x="309949" y="3600928"/>
          <a:ext cx="2253067"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latin typeface="Arial"/>
              <a:cs typeface="Arial"/>
            </a:rPr>
            <a:t>Market Expansion</a:t>
          </a:r>
        </a:p>
      </dsp:txBody>
      <dsp:txXfrm>
        <a:off x="309949" y="3600928"/>
        <a:ext cx="2253067" cy="407232"/>
      </dsp:txXfrm>
    </dsp:sp>
    <dsp:sp modelId="{3994974B-2FA6-2443-8656-F0D33C816422}">
      <dsp:nvSpPr>
        <dsp:cNvPr id="0" name=""/>
        <dsp:cNvSpPr/>
      </dsp:nvSpPr>
      <dsp:spPr>
        <a:xfrm>
          <a:off x="190841" y="3685437"/>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28DBB-51A5-4C83-8020-DEEC1A4FFD3D}">
      <dsp:nvSpPr>
        <dsp:cNvPr id="0" name=""/>
        <dsp:cNvSpPr/>
      </dsp:nvSpPr>
      <dsp:spPr>
        <a:xfrm>
          <a:off x="1149415" y="605779"/>
          <a:ext cx="4037284" cy="4037284"/>
        </a:xfrm>
        <a:prstGeom prst="blockArc">
          <a:avLst>
            <a:gd name="adj1" fmla="val 9000000"/>
            <a:gd name="adj2" fmla="val 16200000"/>
            <a:gd name="adj3" fmla="val 4642"/>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593C6C92-DB1C-447B-A454-B6F4C73278F4}">
      <dsp:nvSpPr>
        <dsp:cNvPr id="0" name=""/>
        <dsp:cNvSpPr/>
      </dsp:nvSpPr>
      <dsp:spPr>
        <a:xfrm>
          <a:off x="1149415" y="605779"/>
          <a:ext cx="4037284" cy="4037284"/>
        </a:xfrm>
        <a:prstGeom prst="blockArc">
          <a:avLst>
            <a:gd name="adj1" fmla="val 1800000"/>
            <a:gd name="adj2" fmla="val 9000000"/>
            <a:gd name="adj3" fmla="val 4642"/>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D5CA9756-C80F-457A-AE90-86D6B49E155C}">
      <dsp:nvSpPr>
        <dsp:cNvPr id="0" name=""/>
        <dsp:cNvSpPr/>
      </dsp:nvSpPr>
      <dsp:spPr>
        <a:xfrm>
          <a:off x="1149415" y="605779"/>
          <a:ext cx="4037284" cy="4037284"/>
        </a:xfrm>
        <a:prstGeom prst="blockArc">
          <a:avLst>
            <a:gd name="adj1" fmla="val 16200000"/>
            <a:gd name="adj2" fmla="val 1800000"/>
            <a:gd name="adj3" fmla="val 4642"/>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FD698645-F894-41AA-B351-063E8ED81A27}">
      <dsp:nvSpPr>
        <dsp:cNvPr id="0" name=""/>
        <dsp:cNvSpPr/>
      </dsp:nvSpPr>
      <dsp:spPr>
        <a:xfrm>
          <a:off x="2238369" y="1694732"/>
          <a:ext cx="1859377" cy="1859377"/>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b="0" kern="1200">
              <a:solidFill>
                <a:srgbClr val="0070C0"/>
              </a:solidFill>
              <a:latin typeface="Arial"/>
              <a:cs typeface="Arial"/>
            </a:rPr>
            <a:t>Framework to develop ARD</a:t>
          </a:r>
        </a:p>
      </dsp:txBody>
      <dsp:txXfrm>
        <a:off x="2510668" y="1967031"/>
        <a:ext cx="1314779" cy="1314779"/>
      </dsp:txXfrm>
    </dsp:sp>
    <dsp:sp modelId="{9110FEF6-01FE-4FF2-AEF5-AC31D26583C2}">
      <dsp:nvSpPr>
        <dsp:cNvPr id="0" name=""/>
        <dsp:cNvSpPr/>
      </dsp:nvSpPr>
      <dsp:spPr>
        <a:xfrm>
          <a:off x="2517275" y="1853"/>
          <a:ext cx="1301564" cy="130156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b="0" kern="1200">
              <a:latin typeface="Arial"/>
              <a:cs typeface="Arial"/>
            </a:rPr>
            <a:t>Different Regions</a:t>
          </a:r>
        </a:p>
      </dsp:txBody>
      <dsp:txXfrm>
        <a:off x="2707885" y="192463"/>
        <a:ext cx="920344" cy="920344"/>
      </dsp:txXfrm>
    </dsp:sp>
    <dsp:sp modelId="{4370FAD4-A0DA-49EC-AE4A-89BCB1DB6970}">
      <dsp:nvSpPr>
        <dsp:cNvPr id="0" name=""/>
        <dsp:cNvSpPr/>
      </dsp:nvSpPr>
      <dsp:spPr>
        <a:xfrm>
          <a:off x="4224892" y="2959532"/>
          <a:ext cx="1301564" cy="130156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510" tIns="16510" rIns="16510" bIns="16510" numCol="1" spcCol="1270" anchor="ctr" anchorCtr="0">
          <a:noAutofit/>
        </a:bodyPr>
        <a:lstStyle/>
        <a:p>
          <a:pPr marL="0" lvl="0" indent="0" algn="ctr" defTabSz="577850" rtl="0">
            <a:lnSpc>
              <a:spcPct val="90000"/>
            </a:lnSpc>
            <a:spcBef>
              <a:spcPct val="0"/>
            </a:spcBef>
            <a:spcAft>
              <a:spcPct val="35000"/>
            </a:spcAft>
            <a:buNone/>
          </a:pPr>
          <a:r>
            <a:rPr lang="en-US" sz="1300" b="0" kern="1200">
              <a:latin typeface="Arial"/>
              <a:cs typeface="Arial"/>
            </a:rPr>
            <a:t>Different Resolution </a:t>
          </a:r>
        </a:p>
        <a:p>
          <a:pPr marL="0" lvl="0" indent="0" algn="ctr" defTabSz="577850">
            <a:lnSpc>
              <a:spcPct val="90000"/>
            </a:lnSpc>
            <a:spcBef>
              <a:spcPct val="0"/>
            </a:spcBef>
            <a:spcAft>
              <a:spcPct val="35000"/>
            </a:spcAft>
            <a:buNone/>
          </a:pPr>
          <a:r>
            <a:rPr lang="en-US" sz="1300" b="0" kern="1200">
              <a:latin typeface="Arial"/>
              <a:cs typeface="Arial"/>
            </a:rPr>
            <a:t>(Low to High)</a:t>
          </a:r>
        </a:p>
      </dsp:txBody>
      <dsp:txXfrm>
        <a:off x="4415502" y="3150142"/>
        <a:ext cx="920344" cy="920344"/>
      </dsp:txXfrm>
    </dsp:sp>
    <dsp:sp modelId="{52E43205-0459-49BB-91E0-EE30148258C4}">
      <dsp:nvSpPr>
        <dsp:cNvPr id="0" name=""/>
        <dsp:cNvSpPr/>
      </dsp:nvSpPr>
      <dsp:spPr>
        <a:xfrm>
          <a:off x="809659" y="2959532"/>
          <a:ext cx="1301564" cy="130156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b="0" kern="1200">
              <a:latin typeface="Arial"/>
              <a:cs typeface="Arial"/>
            </a:rPr>
            <a:t>Different Variables</a:t>
          </a:r>
        </a:p>
      </dsp:txBody>
      <dsp:txXfrm>
        <a:off x="1000269" y="3150142"/>
        <a:ext cx="920344" cy="9203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ED2D52-3C98-4EB9-B937-2DA353722BF4}">
      <dsp:nvSpPr>
        <dsp:cNvPr id="0" name=""/>
        <dsp:cNvSpPr/>
      </dsp:nvSpPr>
      <dsp:spPr>
        <a:xfrm>
          <a:off x="9136515" y="1149125"/>
          <a:ext cx="2083274" cy="2083614"/>
        </a:xfrm>
        <a:prstGeom prst="ellipse">
          <a:avLst/>
        </a:prstGeom>
        <a:gradFill rotWithShape="0">
          <a:gsLst>
            <a:gs pos="0">
              <a:schemeClr val="accent1">
                <a:shade val="50000"/>
                <a:hueOff val="0"/>
                <a:satOff val="0"/>
                <a:lumOff val="0"/>
                <a:alphaOff val="0"/>
                <a:lumMod val="110000"/>
                <a:satMod val="105000"/>
                <a:tint val="67000"/>
              </a:schemeClr>
            </a:gs>
            <a:gs pos="50000">
              <a:schemeClr val="accent1">
                <a:shade val="50000"/>
                <a:hueOff val="0"/>
                <a:satOff val="0"/>
                <a:lumOff val="0"/>
                <a:alphaOff val="0"/>
                <a:lumMod val="105000"/>
                <a:satMod val="103000"/>
                <a:tint val="73000"/>
              </a:schemeClr>
            </a:gs>
            <a:gs pos="100000">
              <a:schemeClr val="accent1">
                <a:shade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22533385-1974-4F95-8EBD-28DADA765DA7}">
      <dsp:nvSpPr>
        <dsp:cNvPr id="0" name=""/>
        <dsp:cNvSpPr/>
      </dsp:nvSpPr>
      <dsp:spPr>
        <a:xfrm>
          <a:off x="9205256" y="1218591"/>
          <a:ext cx="1944684" cy="1944682"/>
        </a:xfrm>
        <a:prstGeom prst="ellipse">
          <a:avLst/>
        </a:prstGeom>
        <a:solidFill>
          <a:schemeClr val="lt1">
            <a:alpha val="90000"/>
            <a:hueOff val="0"/>
            <a:satOff val="0"/>
            <a:lumOff val="0"/>
            <a:alphaOff val="0"/>
          </a:schemeClr>
        </a:solidFill>
        <a:ln w="6350" cap="flat" cmpd="sng" algn="ctr">
          <a:solidFill>
            <a:schemeClr val="accent1">
              <a:shade val="5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cs typeface="Arial"/>
            </a:rPr>
            <a:t>Integrate Env Sensor and Weather Station Data for Validation</a:t>
          </a:r>
        </a:p>
      </dsp:txBody>
      <dsp:txXfrm>
        <a:off x="9483543" y="1496455"/>
        <a:ext cx="1389218" cy="1388954"/>
      </dsp:txXfrm>
    </dsp:sp>
    <dsp:sp modelId="{7D7A18AF-7F16-49E1-857B-1CDB22A52C37}">
      <dsp:nvSpPr>
        <dsp:cNvPr id="0" name=""/>
        <dsp:cNvSpPr/>
      </dsp:nvSpPr>
      <dsp:spPr>
        <a:xfrm rot="2700000">
          <a:off x="6982404" y="1149233"/>
          <a:ext cx="2083033" cy="2083033"/>
        </a:xfrm>
        <a:prstGeom prst="teardrop">
          <a:avLst>
            <a:gd name="adj" fmla="val 100000"/>
          </a:avLst>
        </a:prstGeom>
        <a:gradFill rotWithShape="0">
          <a:gsLst>
            <a:gs pos="0">
              <a:schemeClr val="accent1">
                <a:shade val="50000"/>
                <a:hueOff val="160997"/>
                <a:satOff val="-3921"/>
                <a:lumOff val="17158"/>
                <a:alphaOff val="0"/>
                <a:lumMod val="110000"/>
                <a:satMod val="105000"/>
                <a:tint val="67000"/>
              </a:schemeClr>
            </a:gs>
            <a:gs pos="50000">
              <a:schemeClr val="accent1">
                <a:shade val="50000"/>
                <a:hueOff val="160997"/>
                <a:satOff val="-3921"/>
                <a:lumOff val="17158"/>
                <a:alphaOff val="0"/>
                <a:lumMod val="105000"/>
                <a:satMod val="103000"/>
                <a:tint val="73000"/>
              </a:schemeClr>
            </a:gs>
            <a:gs pos="100000">
              <a:schemeClr val="accent1">
                <a:shade val="50000"/>
                <a:hueOff val="160997"/>
                <a:satOff val="-3921"/>
                <a:lumOff val="1715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E3BF69A-4BF3-4A2F-8BC9-F81FC2610AC3}">
      <dsp:nvSpPr>
        <dsp:cNvPr id="0" name=""/>
        <dsp:cNvSpPr/>
      </dsp:nvSpPr>
      <dsp:spPr>
        <a:xfrm>
          <a:off x="7053241" y="1218591"/>
          <a:ext cx="1944684" cy="1944682"/>
        </a:xfrm>
        <a:prstGeom prst="ellipse">
          <a:avLst/>
        </a:prstGeom>
        <a:solidFill>
          <a:schemeClr val="lt1">
            <a:alpha val="90000"/>
            <a:hueOff val="0"/>
            <a:satOff val="0"/>
            <a:lumOff val="0"/>
            <a:alphaOff val="0"/>
          </a:schemeClr>
        </a:solidFill>
        <a:ln w="6350" cap="flat" cmpd="sng" algn="ctr">
          <a:solidFill>
            <a:schemeClr val="accent1">
              <a:shade val="50000"/>
              <a:hueOff val="160997"/>
              <a:satOff val="-3921"/>
              <a:lumOff val="17158"/>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cs typeface="Arial"/>
            </a:rPr>
            <a:t>Add High Res. Satellite Data as Input</a:t>
          </a:r>
        </a:p>
      </dsp:txBody>
      <dsp:txXfrm>
        <a:off x="7330420" y="1496455"/>
        <a:ext cx="1389218" cy="1388954"/>
      </dsp:txXfrm>
    </dsp:sp>
    <dsp:sp modelId="{9DB6CB3C-47A4-4364-B0D6-E21F89875F0C}">
      <dsp:nvSpPr>
        <dsp:cNvPr id="0" name=""/>
        <dsp:cNvSpPr/>
      </dsp:nvSpPr>
      <dsp:spPr>
        <a:xfrm rot="2700000">
          <a:off x="4830390" y="1149233"/>
          <a:ext cx="2083033" cy="2083033"/>
        </a:xfrm>
        <a:prstGeom prst="teardrop">
          <a:avLst>
            <a:gd name="adj" fmla="val 100000"/>
          </a:avLst>
        </a:prstGeom>
        <a:gradFill rotWithShape="0">
          <a:gsLst>
            <a:gs pos="0">
              <a:schemeClr val="accent1">
                <a:shade val="50000"/>
                <a:hueOff val="321995"/>
                <a:satOff val="-7842"/>
                <a:lumOff val="34317"/>
                <a:alphaOff val="0"/>
                <a:lumMod val="110000"/>
                <a:satMod val="105000"/>
                <a:tint val="67000"/>
              </a:schemeClr>
            </a:gs>
            <a:gs pos="50000">
              <a:schemeClr val="accent1">
                <a:shade val="50000"/>
                <a:hueOff val="321995"/>
                <a:satOff val="-7842"/>
                <a:lumOff val="34317"/>
                <a:alphaOff val="0"/>
                <a:lumMod val="105000"/>
                <a:satMod val="103000"/>
                <a:tint val="73000"/>
              </a:schemeClr>
            </a:gs>
            <a:gs pos="100000">
              <a:schemeClr val="accent1">
                <a:shade val="50000"/>
                <a:hueOff val="321995"/>
                <a:satOff val="-7842"/>
                <a:lumOff val="3431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660DA22-E610-4AFA-A08F-DC91DD39A581}">
      <dsp:nvSpPr>
        <dsp:cNvPr id="0" name=""/>
        <dsp:cNvSpPr/>
      </dsp:nvSpPr>
      <dsp:spPr>
        <a:xfrm>
          <a:off x="4900118" y="1218591"/>
          <a:ext cx="1944684" cy="1944682"/>
        </a:xfrm>
        <a:prstGeom prst="ellipse">
          <a:avLst/>
        </a:prstGeom>
        <a:solidFill>
          <a:schemeClr val="lt1">
            <a:alpha val="90000"/>
            <a:hueOff val="0"/>
            <a:satOff val="0"/>
            <a:lumOff val="0"/>
            <a:alphaOff val="0"/>
          </a:schemeClr>
        </a:solidFill>
        <a:ln w="6350" cap="flat" cmpd="sng" algn="ctr">
          <a:solidFill>
            <a:schemeClr val="accent1">
              <a:shade val="50000"/>
              <a:hueOff val="321995"/>
              <a:satOff val="-7842"/>
              <a:lumOff val="34317"/>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cs typeface="Arial"/>
            </a:rPr>
            <a:t>Apply Advanced DL Algorithms </a:t>
          </a:r>
        </a:p>
      </dsp:txBody>
      <dsp:txXfrm>
        <a:off x="5177297" y="1496455"/>
        <a:ext cx="1389218" cy="1388954"/>
      </dsp:txXfrm>
    </dsp:sp>
    <dsp:sp modelId="{D4D610C9-F132-4B52-A171-1C01F3284D97}">
      <dsp:nvSpPr>
        <dsp:cNvPr id="0" name=""/>
        <dsp:cNvSpPr/>
      </dsp:nvSpPr>
      <dsp:spPr>
        <a:xfrm rot="2700000">
          <a:off x="2677267" y="1149233"/>
          <a:ext cx="2083033" cy="2083033"/>
        </a:xfrm>
        <a:prstGeom prst="teardrop">
          <a:avLst>
            <a:gd name="adj" fmla="val 100000"/>
          </a:avLst>
        </a:prstGeom>
        <a:gradFill rotWithShape="0">
          <a:gsLst>
            <a:gs pos="0">
              <a:schemeClr val="accent1">
                <a:shade val="50000"/>
                <a:hueOff val="321995"/>
                <a:satOff val="-7842"/>
                <a:lumOff val="34317"/>
                <a:alphaOff val="0"/>
                <a:lumMod val="110000"/>
                <a:satMod val="105000"/>
                <a:tint val="67000"/>
              </a:schemeClr>
            </a:gs>
            <a:gs pos="50000">
              <a:schemeClr val="accent1">
                <a:shade val="50000"/>
                <a:hueOff val="321995"/>
                <a:satOff val="-7842"/>
                <a:lumOff val="34317"/>
                <a:alphaOff val="0"/>
                <a:lumMod val="105000"/>
                <a:satMod val="103000"/>
                <a:tint val="73000"/>
              </a:schemeClr>
            </a:gs>
            <a:gs pos="100000">
              <a:schemeClr val="accent1">
                <a:shade val="50000"/>
                <a:hueOff val="321995"/>
                <a:satOff val="-7842"/>
                <a:lumOff val="3431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F82348E-26C6-4ACA-B411-7427BC11582F}">
      <dsp:nvSpPr>
        <dsp:cNvPr id="0" name=""/>
        <dsp:cNvSpPr/>
      </dsp:nvSpPr>
      <dsp:spPr>
        <a:xfrm>
          <a:off x="2746995" y="1218591"/>
          <a:ext cx="1944684" cy="1944682"/>
        </a:xfrm>
        <a:prstGeom prst="ellipse">
          <a:avLst/>
        </a:prstGeom>
        <a:solidFill>
          <a:schemeClr val="lt1">
            <a:alpha val="90000"/>
            <a:hueOff val="0"/>
            <a:satOff val="0"/>
            <a:lumOff val="0"/>
            <a:alphaOff val="0"/>
          </a:schemeClr>
        </a:solidFill>
        <a:ln w="6350" cap="flat" cmpd="sng" algn="ctr">
          <a:solidFill>
            <a:schemeClr val="accent1">
              <a:shade val="50000"/>
              <a:hueOff val="321995"/>
              <a:satOff val="-7842"/>
              <a:lumOff val="34317"/>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cs typeface="Arial"/>
            </a:rPr>
            <a:t>Optimize the Models</a:t>
          </a:r>
        </a:p>
      </dsp:txBody>
      <dsp:txXfrm>
        <a:off x="3025283" y="1496455"/>
        <a:ext cx="1389218" cy="1388954"/>
      </dsp:txXfrm>
    </dsp:sp>
    <dsp:sp modelId="{199D0B31-D934-4DCA-879C-9CF3254994D7}">
      <dsp:nvSpPr>
        <dsp:cNvPr id="0" name=""/>
        <dsp:cNvSpPr/>
      </dsp:nvSpPr>
      <dsp:spPr>
        <a:xfrm rot="2700000">
          <a:off x="524144" y="1149233"/>
          <a:ext cx="2083033" cy="2083033"/>
        </a:xfrm>
        <a:prstGeom prst="teardrop">
          <a:avLst>
            <a:gd name="adj" fmla="val 100000"/>
          </a:avLst>
        </a:prstGeom>
        <a:gradFill rotWithShape="0">
          <a:gsLst>
            <a:gs pos="0">
              <a:schemeClr val="accent1">
                <a:shade val="50000"/>
                <a:hueOff val="160997"/>
                <a:satOff val="-3921"/>
                <a:lumOff val="17158"/>
                <a:alphaOff val="0"/>
                <a:lumMod val="110000"/>
                <a:satMod val="105000"/>
                <a:tint val="67000"/>
              </a:schemeClr>
            </a:gs>
            <a:gs pos="50000">
              <a:schemeClr val="accent1">
                <a:shade val="50000"/>
                <a:hueOff val="160997"/>
                <a:satOff val="-3921"/>
                <a:lumOff val="17158"/>
                <a:alphaOff val="0"/>
                <a:lumMod val="105000"/>
                <a:satMod val="103000"/>
                <a:tint val="73000"/>
              </a:schemeClr>
            </a:gs>
            <a:gs pos="100000">
              <a:schemeClr val="accent1">
                <a:shade val="50000"/>
                <a:hueOff val="160997"/>
                <a:satOff val="-3921"/>
                <a:lumOff val="1715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C3BA3B2-9248-4A1D-9F88-446FD2699906}">
      <dsp:nvSpPr>
        <dsp:cNvPr id="0" name=""/>
        <dsp:cNvSpPr/>
      </dsp:nvSpPr>
      <dsp:spPr>
        <a:xfrm>
          <a:off x="593872" y="1218591"/>
          <a:ext cx="1944684" cy="1944682"/>
        </a:xfrm>
        <a:prstGeom prst="ellipse">
          <a:avLst/>
        </a:prstGeom>
        <a:solidFill>
          <a:schemeClr val="lt1">
            <a:alpha val="90000"/>
            <a:hueOff val="0"/>
            <a:satOff val="0"/>
            <a:lumOff val="0"/>
            <a:alphaOff val="0"/>
          </a:schemeClr>
        </a:solidFill>
        <a:ln w="6350" cap="flat" cmpd="sng" algn="ctr">
          <a:solidFill>
            <a:schemeClr val="accent1">
              <a:shade val="50000"/>
              <a:hueOff val="160997"/>
              <a:satOff val="-3921"/>
              <a:lumOff val="17158"/>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cs typeface="Arial"/>
            </a:rPr>
            <a:t>Train the Models with Data from Different Regions</a:t>
          </a:r>
        </a:p>
      </dsp:txBody>
      <dsp:txXfrm>
        <a:off x="872160" y="1496455"/>
        <a:ext cx="1389218" cy="1388954"/>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FE80BD-2006-4EA1-8E3C-10C564DC791E}" type="datetimeFigureOut">
              <a:rPr lang="en-US" smtClean="0"/>
              <a:t>8/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D6B531-C8A2-4B0D-A016-A84599D65944}" type="slidenum">
              <a:rPr lang="en-US" smtClean="0"/>
              <a:t>‹#›</a:t>
            </a:fld>
            <a:endParaRPr lang="en-US"/>
          </a:p>
        </p:txBody>
      </p:sp>
    </p:spTree>
    <p:extLst>
      <p:ext uri="{BB962C8B-B14F-4D97-AF65-F5344CB8AC3E}">
        <p14:creationId xmlns:p14="http://schemas.microsoft.com/office/powerpoint/2010/main" val="2596587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1</a:t>
            </a:fld>
            <a:endParaRPr lang="en-US"/>
          </a:p>
        </p:txBody>
      </p:sp>
    </p:spTree>
    <p:extLst>
      <p:ext uri="{BB962C8B-B14F-4D97-AF65-F5344CB8AC3E}">
        <p14:creationId xmlns:p14="http://schemas.microsoft.com/office/powerpoint/2010/main" val="929269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see how the model interpolated data and the source (ERA5 and TWC) datasets look like spatially. Good spatial agreement.</a:t>
            </a:r>
          </a:p>
        </p:txBody>
      </p:sp>
      <p:sp>
        <p:nvSpPr>
          <p:cNvPr id="4" name="Slide Number Placeholder 3"/>
          <p:cNvSpPr>
            <a:spLocks noGrp="1"/>
          </p:cNvSpPr>
          <p:nvPr>
            <p:ph type="sldNum" sz="quarter" idx="5"/>
          </p:nvPr>
        </p:nvSpPr>
        <p:spPr/>
        <p:txBody>
          <a:bodyPr/>
          <a:lstStyle/>
          <a:p>
            <a:fld id="{24D6B531-C8A2-4B0D-A016-A84599D65944}" type="slidenum">
              <a:rPr lang="en-US" smtClean="0"/>
              <a:t>16</a:t>
            </a:fld>
            <a:endParaRPr lang="en-US"/>
          </a:p>
        </p:txBody>
      </p:sp>
    </p:spTree>
    <p:extLst>
      <p:ext uri="{BB962C8B-B14F-4D97-AF65-F5344CB8AC3E}">
        <p14:creationId xmlns:p14="http://schemas.microsoft.com/office/powerpoint/2010/main" val="3269077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improve model performance, we applied deep learning. The green scatter plot shows the correlation between resampled ERA5 precipitation and TWC precipitation. </a:t>
            </a:r>
          </a:p>
          <a:p>
            <a:endParaRPr lang="en-US"/>
          </a:p>
          <a:p>
            <a:r>
              <a:rPr lang="en-US"/>
              <a:t>We found that DL solves the issue with overfitting, The scatter plots of train and test set shows there is no overfitting. But it also shows the model performance is not satisfactory. </a:t>
            </a:r>
          </a:p>
        </p:txBody>
      </p:sp>
      <p:sp>
        <p:nvSpPr>
          <p:cNvPr id="4" name="Slide Number Placeholder 3"/>
          <p:cNvSpPr>
            <a:spLocks noGrp="1"/>
          </p:cNvSpPr>
          <p:nvPr>
            <p:ph type="sldNum" sz="quarter" idx="5"/>
          </p:nvPr>
        </p:nvSpPr>
        <p:spPr/>
        <p:txBody>
          <a:bodyPr/>
          <a:lstStyle/>
          <a:p>
            <a:fld id="{24D6B531-C8A2-4B0D-A016-A84599D65944}" type="slidenum">
              <a:rPr lang="en-US" smtClean="0"/>
              <a:t>17</a:t>
            </a:fld>
            <a:endParaRPr lang="en-US"/>
          </a:p>
        </p:txBody>
      </p:sp>
    </p:spTree>
    <p:extLst>
      <p:ext uri="{BB962C8B-B14F-4D97-AF65-F5344CB8AC3E}">
        <p14:creationId xmlns:p14="http://schemas.microsoft.com/office/powerpoint/2010/main" val="2664546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en plotted with the source datasets (ERA5 and TWC), we can see that the DL model overestimates precipitation across our study region for this particular date.</a:t>
            </a:r>
          </a:p>
        </p:txBody>
      </p:sp>
      <p:sp>
        <p:nvSpPr>
          <p:cNvPr id="4" name="Slide Number Placeholder 3"/>
          <p:cNvSpPr>
            <a:spLocks noGrp="1"/>
          </p:cNvSpPr>
          <p:nvPr>
            <p:ph type="sldNum" sz="quarter" idx="5"/>
          </p:nvPr>
        </p:nvSpPr>
        <p:spPr/>
        <p:txBody>
          <a:bodyPr/>
          <a:lstStyle/>
          <a:p>
            <a:fld id="{24D6B531-C8A2-4B0D-A016-A84599D65944}" type="slidenum">
              <a:rPr lang="en-US" smtClean="0"/>
              <a:t>18</a:t>
            </a:fld>
            <a:endParaRPr lang="en-US"/>
          </a:p>
        </p:txBody>
      </p:sp>
    </p:spTree>
    <p:extLst>
      <p:ext uri="{BB962C8B-B14F-4D97-AF65-F5344CB8AC3E}">
        <p14:creationId xmlns:p14="http://schemas.microsoft.com/office/powerpoint/2010/main" val="2359256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we interpolate the weather datasets with the ML models, we incorporate them into the 4km ARD. The 4km ARD have other datasets like directly resampled ERA5 datasets, soil, and elevation data.</a:t>
            </a:r>
          </a:p>
          <a:p>
            <a:endParaRPr lang="en-US"/>
          </a:p>
          <a:p>
            <a:r>
              <a:rPr lang="en-US"/>
              <a:t>We incorporate satellite LST data with these datasets and make the 100m version of the ARD. The 100m ARD only covers the Woodland site in California. We had to limit it to the Woodland site as LST dataset was only available for this site. With satellite dataset becoming available for other regions, we can use our framework to expand the spatial extent of the 100m ARD.</a:t>
            </a:r>
          </a:p>
        </p:txBody>
      </p:sp>
      <p:sp>
        <p:nvSpPr>
          <p:cNvPr id="4" name="Slide Number Placeholder 3"/>
          <p:cNvSpPr>
            <a:spLocks noGrp="1"/>
          </p:cNvSpPr>
          <p:nvPr>
            <p:ph type="sldNum" sz="quarter" idx="5"/>
          </p:nvPr>
        </p:nvSpPr>
        <p:spPr/>
        <p:txBody>
          <a:bodyPr/>
          <a:lstStyle/>
          <a:p>
            <a:fld id="{24D6B531-C8A2-4B0D-A016-A84599D65944}" type="slidenum">
              <a:rPr lang="en-US" smtClean="0"/>
              <a:t>20</a:t>
            </a:fld>
            <a:endParaRPr lang="en-US"/>
          </a:p>
        </p:txBody>
      </p:sp>
    </p:spTree>
    <p:extLst>
      <p:ext uri="{BB962C8B-B14F-4D97-AF65-F5344CB8AC3E}">
        <p14:creationId xmlns:p14="http://schemas.microsoft.com/office/powerpoint/2010/main" val="3885908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 Ariel.</a:t>
            </a:r>
          </a:p>
          <a:p>
            <a:endParaRPr lang="en-US"/>
          </a:p>
          <a:p>
            <a:r>
              <a:rPr lang="en-US"/>
              <a:t>There is no vertical and horizontal segmentation, which was happening in the PROD App due to the ERA5 low resolution data.</a:t>
            </a:r>
          </a:p>
          <a:p>
            <a:endParaRPr lang="en-US"/>
          </a:p>
          <a:p>
            <a:r>
              <a:rPr lang="en-US"/>
              <a:t>In the new ARD integrated cluster map, the clusters are more defined. For example, due to low resolution the nearby testing fields belong to different clusters in the PROD app, and it is difficult to resolve which cluster they actually belong to. In the new map, the fields can be clearly isolated between the clusters.</a:t>
            </a:r>
          </a:p>
        </p:txBody>
      </p:sp>
      <p:sp>
        <p:nvSpPr>
          <p:cNvPr id="4" name="Slide Number Placeholder 3"/>
          <p:cNvSpPr>
            <a:spLocks noGrp="1"/>
          </p:cNvSpPr>
          <p:nvPr>
            <p:ph type="sldNum" sz="quarter" idx="5"/>
          </p:nvPr>
        </p:nvSpPr>
        <p:spPr/>
        <p:txBody>
          <a:bodyPr/>
          <a:lstStyle/>
          <a:p>
            <a:fld id="{24D6B531-C8A2-4B0D-A016-A84599D65944}" type="slidenum">
              <a:rPr lang="en-US" smtClean="0"/>
              <a:t>21</a:t>
            </a:fld>
            <a:endParaRPr lang="en-US"/>
          </a:p>
        </p:txBody>
      </p:sp>
    </p:spTree>
    <p:extLst>
      <p:ext uri="{BB962C8B-B14F-4D97-AF65-F5344CB8AC3E}">
        <p14:creationId xmlns:p14="http://schemas.microsoft.com/office/powerpoint/2010/main" val="128960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23</a:t>
            </a:fld>
            <a:endParaRPr lang="en-US"/>
          </a:p>
        </p:txBody>
      </p:sp>
    </p:spTree>
    <p:extLst>
      <p:ext uri="{BB962C8B-B14F-4D97-AF65-F5344CB8AC3E}">
        <p14:creationId xmlns:p14="http://schemas.microsoft.com/office/powerpoint/2010/main" val="24791282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24</a:t>
            </a:fld>
            <a:endParaRPr lang="en-US"/>
          </a:p>
        </p:txBody>
      </p:sp>
    </p:spTree>
    <p:extLst>
      <p:ext uri="{BB962C8B-B14F-4D97-AF65-F5344CB8AC3E}">
        <p14:creationId xmlns:p14="http://schemas.microsoft.com/office/powerpoint/2010/main" val="3853659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chose these 6 variables for ML implementation because they have estimates available in TWC dataset which can be used as training data for the models.</a:t>
            </a:r>
          </a:p>
        </p:txBody>
      </p:sp>
      <p:sp>
        <p:nvSpPr>
          <p:cNvPr id="4" name="Slide Number Placeholder 3"/>
          <p:cNvSpPr>
            <a:spLocks noGrp="1"/>
          </p:cNvSpPr>
          <p:nvPr>
            <p:ph type="sldNum" sz="quarter" idx="5"/>
          </p:nvPr>
        </p:nvSpPr>
        <p:spPr/>
        <p:txBody>
          <a:bodyPr/>
          <a:lstStyle/>
          <a:p>
            <a:fld id="{24D6B531-C8A2-4B0D-A016-A84599D65944}" type="slidenum">
              <a:rPr lang="en-US" smtClean="0"/>
              <a:t>28</a:t>
            </a:fld>
            <a:endParaRPr lang="en-US"/>
          </a:p>
        </p:txBody>
      </p:sp>
    </p:spTree>
    <p:extLst>
      <p:ext uri="{BB962C8B-B14F-4D97-AF65-F5344CB8AC3E}">
        <p14:creationId xmlns:p14="http://schemas.microsoft.com/office/powerpoint/2010/main" val="3745574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Bilinear resampling was used throughout the project as the resampling method.</a:t>
            </a:r>
          </a:p>
          <a:p>
            <a:endParaRPr lang="en-US"/>
          </a:p>
          <a:p>
            <a:endParaRPr lang="en-US"/>
          </a:p>
          <a:p>
            <a:r>
              <a:rPr lang="en-US"/>
              <a:t>- Also, Bilinear resampling was used to resample weather datasets which were not interpolated by Machine learning models from 28km to 4km resolution.</a:t>
            </a:r>
          </a:p>
        </p:txBody>
      </p:sp>
      <p:sp>
        <p:nvSpPr>
          <p:cNvPr id="4" name="Slide Number Placeholder 3"/>
          <p:cNvSpPr>
            <a:spLocks noGrp="1"/>
          </p:cNvSpPr>
          <p:nvPr>
            <p:ph type="sldNum" sz="quarter" idx="5"/>
          </p:nvPr>
        </p:nvSpPr>
        <p:spPr/>
        <p:txBody>
          <a:bodyPr/>
          <a:lstStyle/>
          <a:p>
            <a:fld id="{24D6B531-C8A2-4B0D-A016-A84599D65944}" type="slidenum">
              <a:rPr lang="en-US" smtClean="0"/>
              <a:t>29</a:t>
            </a:fld>
            <a:endParaRPr lang="en-US"/>
          </a:p>
        </p:txBody>
      </p:sp>
    </p:spTree>
    <p:extLst>
      <p:ext uri="{BB962C8B-B14F-4D97-AF65-F5344CB8AC3E}">
        <p14:creationId xmlns:p14="http://schemas.microsoft.com/office/powerpoint/2010/main" val="814312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odel performance for randomly selected dates from the test dataset.</a:t>
            </a:r>
          </a:p>
        </p:txBody>
      </p:sp>
      <p:sp>
        <p:nvSpPr>
          <p:cNvPr id="4" name="Slide Number Placeholder 3"/>
          <p:cNvSpPr>
            <a:spLocks noGrp="1"/>
          </p:cNvSpPr>
          <p:nvPr>
            <p:ph type="sldNum" sz="quarter" idx="5"/>
          </p:nvPr>
        </p:nvSpPr>
        <p:spPr/>
        <p:txBody>
          <a:bodyPr/>
          <a:lstStyle/>
          <a:p>
            <a:fld id="{24D6B531-C8A2-4B0D-A016-A84599D65944}" type="slidenum">
              <a:rPr lang="en-US" smtClean="0"/>
              <a:t>30</a:t>
            </a:fld>
            <a:endParaRPr lang="en-US"/>
          </a:p>
        </p:txBody>
      </p:sp>
    </p:spTree>
    <p:extLst>
      <p:ext uri="{BB962C8B-B14F-4D97-AF65-F5344CB8AC3E}">
        <p14:creationId xmlns:p14="http://schemas.microsoft.com/office/powerpoint/2010/main" val="1448655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4</a:t>
            </a:fld>
            <a:endParaRPr lang="en-US"/>
          </a:p>
        </p:txBody>
      </p:sp>
    </p:spTree>
    <p:extLst>
      <p:ext uri="{BB962C8B-B14F-4D97-AF65-F5344CB8AC3E}">
        <p14:creationId xmlns:p14="http://schemas.microsoft.com/office/powerpoint/2010/main" val="3666634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 looked into model results for randomly selected dates in the previous slide. But we also wanted to see how the model does for all dates in the test dataset. The blue boxplot shows range of R2 scores for days before ML was applied and the R2 scores are mostly negative. The orange plot shows the R2 scores after the trained ML was applied and it shows that how the ML model improves R2 score for daily datase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boxplot confirms that the ML model performs well for average relative humidity at daily sca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1</a:t>
            </a:fld>
            <a:endParaRPr lang="en-US"/>
          </a:p>
        </p:txBody>
      </p:sp>
    </p:spTree>
    <p:extLst>
      <p:ext uri="{BB962C8B-B14F-4D97-AF65-F5344CB8AC3E}">
        <p14:creationId xmlns:p14="http://schemas.microsoft.com/office/powerpoint/2010/main" val="3909833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2</a:t>
            </a:fld>
            <a:endParaRPr lang="en-US"/>
          </a:p>
        </p:txBody>
      </p:sp>
    </p:spTree>
    <p:extLst>
      <p:ext uri="{BB962C8B-B14F-4D97-AF65-F5344CB8AC3E}">
        <p14:creationId xmlns:p14="http://schemas.microsoft.com/office/powerpoint/2010/main" val="4288831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odel performance for randomly selected date</a:t>
            </a:r>
          </a:p>
        </p:txBody>
      </p:sp>
      <p:sp>
        <p:nvSpPr>
          <p:cNvPr id="4" name="Slide Number Placeholder 3"/>
          <p:cNvSpPr>
            <a:spLocks noGrp="1"/>
          </p:cNvSpPr>
          <p:nvPr>
            <p:ph type="sldNum" sz="quarter" idx="5"/>
          </p:nvPr>
        </p:nvSpPr>
        <p:spPr/>
        <p:txBody>
          <a:bodyPr/>
          <a:lstStyle/>
          <a:p>
            <a:fld id="{24D6B531-C8A2-4B0D-A016-A84599D65944}" type="slidenum">
              <a:rPr lang="en-US" smtClean="0"/>
              <a:t>33</a:t>
            </a:fld>
            <a:endParaRPr lang="en-US"/>
          </a:p>
        </p:txBody>
      </p:sp>
    </p:spTree>
    <p:extLst>
      <p:ext uri="{BB962C8B-B14F-4D97-AF65-F5344CB8AC3E}">
        <p14:creationId xmlns:p14="http://schemas.microsoft.com/office/powerpoint/2010/main" val="33075313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4</a:t>
            </a:fld>
            <a:endParaRPr lang="en-US"/>
          </a:p>
        </p:txBody>
      </p:sp>
    </p:spTree>
    <p:extLst>
      <p:ext uri="{BB962C8B-B14F-4D97-AF65-F5344CB8AC3E}">
        <p14:creationId xmlns:p14="http://schemas.microsoft.com/office/powerpoint/2010/main" val="506636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left plot is a scatter plot between resampled ERA5 max temp and Observed TWC max temp. For doing this comparison, I resampled the ERA5 dataset to 4km which is the resolution of the TWC dataset. The R2 score signifies that there are already good correlation, but we want to improve th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o, we apply the trained machine learning model and the R2 improves for both train and test set.</a:t>
            </a:r>
          </a:p>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6</a:t>
            </a:fld>
            <a:endParaRPr lang="en-US"/>
          </a:p>
        </p:txBody>
      </p:sp>
    </p:spTree>
    <p:extLst>
      <p:ext uri="{BB962C8B-B14F-4D97-AF65-F5344CB8AC3E}">
        <p14:creationId xmlns:p14="http://schemas.microsoft.com/office/powerpoint/2010/main" val="1172865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odel performance for randomly selected date</a:t>
            </a:r>
          </a:p>
        </p:txBody>
      </p:sp>
      <p:sp>
        <p:nvSpPr>
          <p:cNvPr id="4" name="Slide Number Placeholder 3"/>
          <p:cNvSpPr>
            <a:spLocks noGrp="1"/>
          </p:cNvSpPr>
          <p:nvPr>
            <p:ph type="sldNum" sz="quarter" idx="5"/>
          </p:nvPr>
        </p:nvSpPr>
        <p:spPr/>
        <p:txBody>
          <a:bodyPr/>
          <a:lstStyle/>
          <a:p>
            <a:fld id="{24D6B531-C8A2-4B0D-A016-A84599D65944}" type="slidenum">
              <a:rPr lang="en-US" smtClean="0"/>
              <a:t>37</a:t>
            </a:fld>
            <a:endParaRPr lang="en-US"/>
          </a:p>
        </p:txBody>
      </p:sp>
    </p:spTree>
    <p:extLst>
      <p:ext uri="{BB962C8B-B14F-4D97-AF65-F5344CB8AC3E}">
        <p14:creationId xmlns:p14="http://schemas.microsoft.com/office/powerpoint/2010/main" val="34036804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imilar to Avg. Rel. Humidity, the boxplot here is showing how the model performs for all dates in test dataset for maximum temperature model. The blue boxplot shows range of R2 scores before ML was applied and you can see that the R2 scores are quite good. The orange plot shows the R2 scores are further improved after the trained ML was applied. This shows that how the ML model performs well for maximum temperature at daily sca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8</a:t>
            </a:fld>
            <a:endParaRPr lang="en-US"/>
          </a:p>
        </p:txBody>
      </p:sp>
    </p:spTree>
    <p:extLst>
      <p:ext uri="{BB962C8B-B14F-4D97-AF65-F5344CB8AC3E}">
        <p14:creationId xmlns:p14="http://schemas.microsoft.com/office/powerpoint/2010/main" val="27998747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plotted with the source datasets (ERA5 and TWC) the interpolated data shows good spatial agreement throughout the study region.</a:t>
            </a:r>
          </a:p>
        </p:txBody>
      </p:sp>
      <p:sp>
        <p:nvSpPr>
          <p:cNvPr id="4" name="Slide Number Placeholder 3"/>
          <p:cNvSpPr>
            <a:spLocks noGrp="1"/>
          </p:cNvSpPr>
          <p:nvPr>
            <p:ph type="sldNum" sz="quarter" idx="5"/>
          </p:nvPr>
        </p:nvSpPr>
        <p:spPr/>
        <p:txBody>
          <a:bodyPr/>
          <a:lstStyle/>
          <a:p>
            <a:fld id="{24D6B531-C8A2-4B0D-A016-A84599D65944}" type="slidenum">
              <a:rPr lang="en-US" smtClean="0"/>
              <a:t>39</a:t>
            </a:fld>
            <a:endParaRPr lang="en-US"/>
          </a:p>
        </p:txBody>
      </p:sp>
    </p:spTree>
    <p:extLst>
      <p:ext uri="{BB962C8B-B14F-4D97-AF65-F5344CB8AC3E}">
        <p14:creationId xmlns:p14="http://schemas.microsoft.com/office/powerpoint/2010/main" val="30482526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41</a:t>
            </a:fld>
            <a:endParaRPr lang="en-US"/>
          </a:p>
        </p:txBody>
      </p:sp>
    </p:spTree>
    <p:extLst>
      <p:ext uri="{BB962C8B-B14F-4D97-AF65-F5344CB8AC3E}">
        <p14:creationId xmlns:p14="http://schemas.microsoft.com/office/powerpoint/2010/main" val="16238138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reasons why the precipitation model didn’t work well is the skewness in the dataset. Precipitation dataset has many zero values making the dataset skewed towards zero. Due to this skewness, our data splitting strategy isn’t doing well, and we see performance gap between train and validation dataset.</a:t>
            </a:r>
          </a:p>
        </p:txBody>
      </p:sp>
      <p:sp>
        <p:nvSpPr>
          <p:cNvPr id="4" name="Slide Number Placeholder 3"/>
          <p:cNvSpPr>
            <a:spLocks noGrp="1"/>
          </p:cNvSpPr>
          <p:nvPr>
            <p:ph type="sldNum" sz="quarter" idx="5"/>
          </p:nvPr>
        </p:nvSpPr>
        <p:spPr/>
        <p:txBody>
          <a:bodyPr/>
          <a:lstStyle/>
          <a:p>
            <a:fld id="{24D6B531-C8A2-4B0D-A016-A84599D65944}" type="slidenum">
              <a:rPr lang="en-US" smtClean="0"/>
              <a:t>42</a:t>
            </a:fld>
            <a:endParaRPr lang="en-US"/>
          </a:p>
        </p:txBody>
      </p:sp>
    </p:spTree>
    <p:extLst>
      <p:ext uri="{BB962C8B-B14F-4D97-AF65-F5344CB8AC3E}">
        <p14:creationId xmlns:p14="http://schemas.microsoft.com/office/powerpoint/2010/main" val="1405468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business motivation of  this project comes from the environmental clustering app developed by Veg R&amp;D APD. This app enables rapid, effective and scalable production of clustering maps across various crops and regions like shown here for the California reg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It is used by teams across Veg R&amp;D and in multiple Bayer organizations, and unlocks multiple potential business values including but not limited to the ones listed ’the list’</a:t>
            </a:r>
          </a:p>
          <a:p>
            <a:pPr marL="171450" indent="-171450">
              <a:buFontTx/>
              <a:buChar char="-"/>
            </a:pPr>
            <a:r>
              <a:rPr lang="en-US" dirty="0"/>
              <a:t>This web app uses inputs: 20-yrs of weather data, soil, elevation data., but the bottleneck for improved resolution arises due to unavailability of high-resolution long-term weather data.</a:t>
            </a:r>
          </a:p>
          <a:p>
            <a:pPr marL="171450" indent="-171450">
              <a:buFontTx/>
              <a:buChar char="-"/>
            </a:pPr>
            <a:r>
              <a:rPr lang="en-US" dirty="0"/>
              <a:t>The current weather datasets are of lower spatial resolution-long temporal records and higher spatial resolution – short temporal records. </a:t>
            </a:r>
          </a:p>
          <a:p>
            <a:pPr marL="171450" indent="-171450">
              <a:buFontTx/>
              <a:buChar char="-"/>
            </a:pPr>
            <a:r>
              <a:rPr lang="en-US" dirty="0"/>
              <a:t>To improve the web app clustering performance, we need to have high spatial resolution long term datasets.</a:t>
            </a:r>
          </a:p>
          <a:p>
            <a:pPr marL="171450" indent="-171450">
              <a:buFontTx/>
              <a:buChar char="-"/>
            </a:pPr>
            <a:r>
              <a:rPr lang="en-US" dirty="0"/>
              <a:t>So, we propose a machine learning + spatial interpolation-based framework that will harmonize all datasets including the weather datasets to high spatial resolution.</a:t>
            </a:r>
          </a:p>
        </p:txBody>
      </p:sp>
      <p:sp>
        <p:nvSpPr>
          <p:cNvPr id="4" name="Slide Number Placeholder 3"/>
          <p:cNvSpPr>
            <a:spLocks noGrp="1"/>
          </p:cNvSpPr>
          <p:nvPr>
            <p:ph type="sldNum" sz="quarter" idx="5"/>
          </p:nvPr>
        </p:nvSpPr>
        <p:spPr/>
        <p:txBody>
          <a:bodyPr/>
          <a:lstStyle/>
          <a:p>
            <a:fld id="{24D6B531-C8A2-4B0D-A016-A84599D65944}" type="slidenum">
              <a:rPr lang="en-US" smtClean="0"/>
              <a:t>5</a:t>
            </a:fld>
            <a:endParaRPr lang="en-US"/>
          </a:p>
        </p:txBody>
      </p:sp>
    </p:spTree>
    <p:extLst>
      <p:ext uri="{BB962C8B-B14F-4D97-AF65-F5344CB8AC3E}">
        <p14:creationId xmlns:p14="http://schemas.microsoft.com/office/powerpoint/2010/main" val="9653598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44</a:t>
            </a:fld>
            <a:endParaRPr lang="en-US"/>
          </a:p>
        </p:txBody>
      </p:sp>
    </p:spTree>
    <p:extLst>
      <p:ext uri="{BB962C8B-B14F-4D97-AF65-F5344CB8AC3E}">
        <p14:creationId xmlns:p14="http://schemas.microsoft.com/office/powerpoint/2010/main" val="1897367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Even though we build the framework for improving the datasets required for the Env Clustering App, it has other business impact.</a:t>
            </a:r>
          </a:p>
          <a:p>
            <a:pPr marL="0" indent="0">
              <a:buFontTx/>
              <a:buNone/>
            </a:pPr>
            <a:r>
              <a:rPr lang="en-US" dirty="0"/>
              <a:t>- The framework can be used for improving resolution of different variables and is scalable for any region. </a:t>
            </a:r>
          </a:p>
          <a:p>
            <a:pPr marL="0" indent="0">
              <a:buFontTx/>
              <a:buNone/>
            </a:pPr>
            <a:r>
              <a:rPr lang="en-US" dirty="0"/>
              <a:t>- In addition, the framework can be integrated to other environmental models, crop and disease models that require high-resolution weather data.</a:t>
            </a:r>
          </a:p>
          <a:p>
            <a:pPr marL="0" indent="0">
              <a:buFontTx/>
              <a:buNone/>
            </a:pPr>
            <a:r>
              <a:rPr lang="en-US" dirty="0"/>
              <a:t>- In summary, the framework has the potential to improve many models used across Bayer.</a:t>
            </a:r>
          </a:p>
        </p:txBody>
      </p:sp>
      <p:sp>
        <p:nvSpPr>
          <p:cNvPr id="4" name="Slide Number Placeholder 3"/>
          <p:cNvSpPr>
            <a:spLocks noGrp="1"/>
          </p:cNvSpPr>
          <p:nvPr>
            <p:ph type="sldNum" sz="quarter" idx="5"/>
          </p:nvPr>
        </p:nvSpPr>
        <p:spPr/>
        <p:txBody>
          <a:bodyPr/>
          <a:lstStyle/>
          <a:p>
            <a:fld id="{24D6B531-C8A2-4B0D-A016-A84599D65944}" type="slidenum">
              <a:rPr lang="en-US" smtClean="0"/>
              <a:t>6</a:t>
            </a:fld>
            <a:endParaRPr lang="en-US"/>
          </a:p>
        </p:txBody>
      </p:sp>
    </p:spTree>
    <p:extLst>
      <p:ext uri="{BB962C8B-B14F-4D97-AF65-F5344CB8AC3E}">
        <p14:creationId xmlns:p14="http://schemas.microsoft.com/office/powerpoint/2010/main" val="2018869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I have been talking about improving spatial resolution of weather data. How do we do that? That the technical motivation of this project.</a:t>
            </a:r>
          </a:p>
          <a:p>
            <a:pPr marL="171450" indent="-171450">
              <a:buFontTx/>
              <a:buChar char="-"/>
            </a:pPr>
            <a:r>
              <a:rPr lang="en-US" dirty="0"/>
              <a:t>First is ERA5 which is of low spatial resolution 28km but has extended temporal records at daily scale.</a:t>
            </a:r>
          </a:p>
          <a:p>
            <a:pPr marL="171450" indent="-171450">
              <a:buFontTx/>
              <a:buChar char="-"/>
            </a:pPr>
            <a:r>
              <a:rPr lang="en-US" dirty="0"/>
              <a:t>This is how the ERA5 spatial resolution look like for our study region: a part of Sacramento valley in California </a:t>
            </a:r>
          </a:p>
          <a:p>
            <a:pPr marL="171450" indent="-171450">
              <a:buFontTx/>
              <a:buChar char="-"/>
            </a:pPr>
            <a:r>
              <a:rPr lang="en-US" dirty="0"/>
              <a:t>Second, there is TWC datasets. The TWC historical weather datasets are of 4km spatial resolution and TWC high-resolution precipitation data is of 8km spatial resolution.</a:t>
            </a:r>
          </a:p>
          <a:p>
            <a:pPr marL="171450" indent="-171450">
              <a:buFontTx/>
              <a:buChar char="-"/>
            </a:pPr>
            <a:r>
              <a:rPr lang="en-US" dirty="0"/>
              <a:t>The TWC datasets are available for a short time frame at daily scale.</a:t>
            </a:r>
          </a:p>
          <a:p>
            <a:pPr marL="171450" indent="-171450">
              <a:buFontTx/>
              <a:buChar char="-"/>
            </a:pPr>
            <a:r>
              <a:rPr lang="en-US" dirty="0"/>
              <a:t>This is how the TWC spatial resolution looks like for our study area.</a:t>
            </a:r>
          </a:p>
          <a:p>
            <a:pPr marL="171450" indent="-171450">
              <a:buFontTx/>
              <a:buChar char="-"/>
            </a:pPr>
            <a:r>
              <a:rPr lang="en-US" dirty="0"/>
              <a:t>Our objective is to improve the resolution of ERA5 datasets to a resolution of 4km using a framework where ERA5 variables will be used as input variables and TWC datasets will be used as training data.</a:t>
            </a:r>
          </a:p>
          <a:p>
            <a:pPr marL="171450" indent="-171450">
              <a:buFontTx/>
              <a:buChar char="-"/>
            </a:pPr>
            <a:r>
              <a:rPr lang="en-US" dirty="0"/>
              <a:t>We are choosing 4km as the target resolution because the TWC weather datasets (except precipitation) are of 4km resolution.</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7</a:t>
            </a:fld>
            <a:endParaRPr lang="en-US"/>
          </a:p>
        </p:txBody>
      </p:sp>
    </p:spTree>
    <p:extLst>
      <p:ext uri="{BB962C8B-B14F-4D97-AF65-F5344CB8AC3E}">
        <p14:creationId xmlns:p14="http://schemas.microsoft.com/office/powerpoint/2010/main" val="1252905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lnSpc>
                <a:spcPct val="150000"/>
              </a:lnSpc>
              <a:buFont typeface="Courier New" panose="02070309020205020404" pitchFamily="49" charset="0"/>
              <a:buNone/>
            </a:pPr>
            <a:r>
              <a:rPr lang="en-US"/>
              <a:t>- Used a type of gradient Boosting type decision tree called GOSS.</a:t>
            </a:r>
          </a:p>
          <a:p>
            <a:pPr marL="457200" lvl="1" indent="0">
              <a:lnSpc>
                <a:spcPct val="150000"/>
              </a:lnSpc>
              <a:buFont typeface="Courier New" panose="02070309020205020404" pitchFamily="49" charset="0"/>
              <a:buNone/>
            </a:pPr>
            <a:r>
              <a:rPr lang="en-US"/>
              <a:t>	- uses the residuals of previous tree to improve results in the next tree. Finally gives the outputs when residuals </a:t>
            </a:r>
            <a:r>
              <a:rPr lang="en-US" err="1"/>
              <a:t>ane</a:t>
            </a:r>
            <a:r>
              <a:rPr lang="en-US"/>
              <a:t> minimized.</a:t>
            </a:r>
          </a:p>
          <a:p>
            <a:pPr marL="457200" lvl="1" indent="0">
              <a:lnSpc>
                <a:spcPct val="150000"/>
              </a:lnSpc>
              <a:buFont typeface="Courier New" panose="02070309020205020404" pitchFamily="49" charset="0"/>
              <a:buNone/>
            </a:pPr>
            <a:r>
              <a:rPr lang="en-US"/>
              <a:t>	- fast algorithm for large dataset</a:t>
            </a:r>
          </a:p>
          <a:p>
            <a:pPr marL="457200" lvl="1" indent="0">
              <a:lnSpc>
                <a:spcPct val="150000"/>
              </a:lnSpc>
              <a:buFont typeface="Courier New" panose="02070309020205020404" pitchFamily="49" charset="0"/>
              <a:buNone/>
            </a:pPr>
            <a:r>
              <a:rPr lang="en-US"/>
              <a:t>	- Minimal overfitting if tuned </a:t>
            </a:r>
          </a:p>
          <a:p>
            <a:pPr marL="457200" lvl="1" indent="0">
              <a:lnSpc>
                <a:spcPct val="150000"/>
              </a:lnSpc>
              <a:buFont typeface="Courier New" panose="02070309020205020404" pitchFamily="49" charset="0"/>
              <a:buNone/>
            </a:pPr>
            <a:endParaRPr lang="en-US"/>
          </a:p>
          <a:p>
            <a:pPr marL="628650" lvl="1" indent="-171450">
              <a:lnSpc>
                <a:spcPct val="150000"/>
              </a:lnSpc>
              <a:buFontTx/>
              <a:buChar char="-"/>
            </a:pPr>
            <a:r>
              <a:rPr lang="en-US"/>
              <a:t>We implemented DL is total precipitation model because there are many new studies based on DL</a:t>
            </a:r>
          </a:p>
          <a:p>
            <a:pPr marL="628650" lvl="1" indent="-171450">
              <a:lnSpc>
                <a:spcPct val="150000"/>
              </a:lnSpc>
              <a:buFontTx/>
              <a:buChar char="-"/>
            </a:pPr>
            <a:r>
              <a:rPr lang="en-US"/>
              <a:t>We implemented MLP for the precipitation model. The MLP has input layers (where we introduce the variables). The hidden layers is the architecture of the model which need to be figured out for achieving good performance, in the output layer we have the model results.</a:t>
            </a:r>
          </a:p>
        </p:txBody>
      </p:sp>
      <p:sp>
        <p:nvSpPr>
          <p:cNvPr id="4" name="Slide Number Placeholder 3"/>
          <p:cNvSpPr>
            <a:spLocks noGrp="1"/>
          </p:cNvSpPr>
          <p:nvPr>
            <p:ph type="sldNum" sz="quarter" idx="5"/>
          </p:nvPr>
        </p:nvSpPr>
        <p:spPr/>
        <p:txBody>
          <a:bodyPr/>
          <a:lstStyle/>
          <a:p>
            <a:fld id="{24D6B531-C8A2-4B0D-A016-A84599D65944}" type="slidenum">
              <a:rPr lang="en-US" smtClean="0"/>
              <a:t>10</a:t>
            </a:fld>
            <a:endParaRPr lang="en-US"/>
          </a:p>
        </p:txBody>
      </p:sp>
    </p:spTree>
    <p:extLst>
      <p:ext uri="{BB962C8B-B14F-4D97-AF65-F5344CB8AC3E}">
        <p14:creationId xmlns:p14="http://schemas.microsoft.com/office/powerpoint/2010/main" val="2161543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phasize on Soil250 and Elevation Data.</a:t>
            </a:r>
          </a:p>
        </p:txBody>
      </p:sp>
      <p:sp>
        <p:nvSpPr>
          <p:cNvPr id="4" name="Slide Number Placeholder 3"/>
          <p:cNvSpPr>
            <a:spLocks noGrp="1"/>
          </p:cNvSpPr>
          <p:nvPr>
            <p:ph type="sldNum" sz="quarter" idx="5"/>
          </p:nvPr>
        </p:nvSpPr>
        <p:spPr/>
        <p:txBody>
          <a:bodyPr/>
          <a:lstStyle/>
          <a:p>
            <a:fld id="{24D6B531-C8A2-4B0D-A016-A84599D65944}" type="slidenum">
              <a:rPr lang="en-US" smtClean="0"/>
              <a:t>11</a:t>
            </a:fld>
            <a:endParaRPr lang="en-US"/>
          </a:p>
        </p:txBody>
      </p:sp>
    </p:spTree>
    <p:extLst>
      <p:ext uri="{BB962C8B-B14F-4D97-AF65-F5344CB8AC3E}">
        <p14:creationId xmlns:p14="http://schemas.microsoft.com/office/powerpoint/2010/main" val="1943434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lnSpc>
                <a:spcPct val="150000"/>
              </a:lnSpc>
              <a:buFontTx/>
              <a:buChar char="-"/>
            </a:pPr>
            <a:r>
              <a:rPr lang="en-US" dirty="0"/>
              <a:t>I will start with ML/DL model result summary first. Here are 6 weather variables for which I implemented machine learning</a:t>
            </a:r>
          </a:p>
          <a:p>
            <a:pPr marL="628650" lvl="1" indent="-171450">
              <a:lnSpc>
                <a:spcPct val="150000"/>
              </a:lnSpc>
              <a:buFontTx/>
              <a:buChar char="-"/>
            </a:pPr>
            <a:r>
              <a:rPr lang="en-US" dirty="0"/>
              <a:t>For each variable, I am using R2 to explain the strength between datasets.</a:t>
            </a:r>
          </a:p>
          <a:p>
            <a:pPr marL="628650" lvl="1" indent="-171450">
              <a:lnSpc>
                <a:spcPct val="150000"/>
              </a:lnSpc>
              <a:buFontTx/>
              <a:buChar char="-"/>
            </a:pPr>
            <a:r>
              <a:rPr lang="en-US" dirty="0"/>
              <a:t>I will clarify R2 in short to better explain the model results.</a:t>
            </a:r>
          </a:p>
          <a:p>
            <a:pPr marL="628650" lvl="1" indent="-171450">
              <a:lnSpc>
                <a:spcPct val="150000"/>
              </a:lnSpc>
              <a:buFontTx/>
              <a:buChar char="-"/>
            </a:pPr>
            <a:r>
              <a:rPr lang="en-US" dirty="0"/>
              <a:t>If we focus on the left plot, we can see some dots or points. The straight line represents the regression model fitted on the dots. </a:t>
            </a:r>
          </a:p>
          <a:p>
            <a:pPr marL="628650" lvl="1" indent="-171450">
              <a:lnSpc>
                <a:spcPct val="150000"/>
              </a:lnSpc>
              <a:buFontTx/>
              <a:buChar char="-"/>
            </a:pPr>
            <a:r>
              <a:rPr lang="en-US" dirty="0"/>
              <a:t>The goodness of fit of this regression model is explained by R2 </a:t>
            </a:r>
            <a:r>
              <a:rPr lang="en-US"/>
              <a:t>(coef. </a:t>
            </a:r>
            <a:r>
              <a:rPr lang="en-US" dirty="0"/>
              <a:t>of determination). The higher the R2 value is close to 1, the better is the model results.</a:t>
            </a:r>
          </a:p>
          <a:p>
            <a:pPr marL="628650" lvl="1" indent="-171450">
              <a:lnSpc>
                <a:spcPct val="150000"/>
              </a:lnSpc>
              <a:buFontTx/>
              <a:buChar char="-"/>
            </a:pPr>
            <a:r>
              <a:rPr lang="en-US" dirty="0"/>
              <a:t>R2 is calculated between the modeled value on the line and the original green dots.</a:t>
            </a:r>
          </a:p>
          <a:p>
            <a:pPr marL="628650" lvl="1" indent="-171450">
              <a:lnSpc>
                <a:spcPct val="150000"/>
              </a:lnSpc>
              <a:buFontTx/>
              <a:buChar char="-"/>
            </a:pPr>
            <a:endParaRPr lang="en-US" dirty="0"/>
          </a:p>
          <a:p>
            <a:pPr marL="628650" lvl="1" indent="-171450">
              <a:lnSpc>
                <a:spcPct val="150000"/>
              </a:lnSpc>
              <a:buFontTx/>
              <a:buChar char="-"/>
            </a:pPr>
            <a:endParaRPr lang="en-US" dirty="0"/>
          </a:p>
          <a:p>
            <a:pPr marL="628650" lvl="1" indent="-171450">
              <a:lnSpc>
                <a:spcPct val="150000"/>
              </a:lnSpc>
              <a:buFontTx/>
              <a:buChar char="-"/>
            </a:pPr>
            <a:r>
              <a:rPr lang="en-US" dirty="0"/>
              <a:t>Now, let’s move into the table. We have implemented machine learning and deep learning on 06 weather data. </a:t>
            </a:r>
          </a:p>
          <a:p>
            <a:pPr marL="628650" lvl="1" indent="-171450">
              <a:lnSpc>
                <a:spcPct val="150000"/>
              </a:lnSpc>
              <a:buFontTx/>
              <a:buChar char="-"/>
            </a:pPr>
            <a:r>
              <a:rPr lang="en-US" dirty="0"/>
              <a:t>The second row shows the correlation between original ERA5 variable and TWC variable before applying ML model.</a:t>
            </a:r>
          </a:p>
          <a:p>
            <a:pPr marL="628650" lvl="1" indent="-171450">
              <a:lnSpc>
                <a:spcPct val="150000"/>
              </a:lnSpc>
              <a:buFontTx/>
              <a:buChar char="-"/>
            </a:pPr>
            <a:r>
              <a:rPr lang="en-US" dirty="0"/>
              <a:t>The R2 values are good. For example, maximum temp has a very good R2 score close to 1. But there are scopes of improvement.</a:t>
            </a:r>
          </a:p>
          <a:p>
            <a:pPr marL="628650" lvl="1" indent="-171450">
              <a:lnSpc>
                <a:spcPct val="150000"/>
              </a:lnSpc>
              <a:buFontTx/>
              <a:buChar char="-"/>
            </a:pPr>
            <a:r>
              <a:rPr lang="en-US" dirty="0"/>
              <a:t>After implementing ML, the R2 values improves as shown in 3</a:t>
            </a:r>
            <a:r>
              <a:rPr lang="en-US" baseline="30000" dirty="0"/>
              <a:t>rd</a:t>
            </a:r>
            <a:r>
              <a:rPr lang="en-US" dirty="0"/>
              <a:t> and 4</a:t>
            </a:r>
            <a:r>
              <a:rPr lang="en-US" baseline="30000" dirty="0"/>
              <a:t>th</a:t>
            </a:r>
            <a:r>
              <a:rPr lang="en-US" dirty="0"/>
              <a:t> column. We can see improved R2 value between model interpolated weather variable and TWC training data.</a:t>
            </a:r>
          </a:p>
        </p:txBody>
      </p:sp>
      <p:sp>
        <p:nvSpPr>
          <p:cNvPr id="4" name="Slide Number Placeholder 3"/>
          <p:cNvSpPr>
            <a:spLocks noGrp="1"/>
          </p:cNvSpPr>
          <p:nvPr>
            <p:ph type="sldNum" sz="quarter" idx="5"/>
          </p:nvPr>
        </p:nvSpPr>
        <p:spPr/>
        <p:txBody>
          <a:bodyPr/>
          <a:lstStyle/>
          <a:p>
            <a:fld id="{24D6B531-C8A2-4B0D-A016-A84599D65944}" type="slidenum">
              <a:rPr lang="en-US" smtClean="0"/>
              <a:t>14</a:t>
            </a:fld>
            <a:endParaRPr lang="en-US"/>
          </a:p>
        </p:txBody>
      </p:sp>
    </p:spTree>
    <p:extLst>
      <p:ext uri="{BB962C8B-B14F-4D97-AF65-F5344CB8AC3E}">
        <p14:creationId xmlns:p14="http://schemas.microsoft.com/office/powerpoint/2010/main" val="1324976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left plot is a scatter plot between resampled ERA5 data and TWC training Data. For doing this comparison, I resampled the ERA5 dataset to 4km which is the resolution of the TWC dataset. The R2 score signifies that there are some correlation, but we want to improve th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o, we apply the trained machine learning model and the R2 improves for both train and test set. The scatter plot in the middle shows the improved correlation between Modeled ERA5 data with Observed TWC data for the train set. And the 3</a:t>
            </a:r>
            <a:r>
              <a:rPr lang="en-US" baseline="30000"/>
              <a:t>rd</a:t>
            </a:r>
            <a:r>
              <a:rPr lang="en-US"/>
              <a:t> plot is for the test dataset. In both of these cases, the high R2 score signifies that the model is doing well in improving the spatial resolution of average relative humidity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Most machine learning studies compare model performance on the train and test dataset, but we wanted to see how our model is performing for daily dataset. </a:t>
            </a:r>
          </a:p>
        </p:txBody>
      </p:sp>
      <p:sp>
        <p:nvSpPr>
          <p:cNvPr id="4" name="Slide Number Placeholder 3"/>
          <p:cNvSpPr>
            <a:spLocks noGrp="1"/>
          </p:cNvSpPr>
          <p:nvPr>
            <p:ph type="sldNum" sz="quarter" idx="5"/>
          </p:nvPr>
        </p:nvSpPr>
        <p:spPr/>
        <p:txBody>
          <a:bodyPr/>
          <a:lstStyle/>
          <a:p>
            <a:fld id="{24D6B531-C8A2-4B0D-A016-A84599D65944}" type="slidenum">
              <a:rPr lang="en-US" smtClean="0"/>
              <a:t>15</a:t>
            </a:fld>
            <a:endParaRPr lang="en-US"/>
          </a:p>
        </p:txBody>
      </p:sp>
    </p:spTree>
    <p:extLst>
      <p:ext uri="{BB962C8B-B14F-4D97-AF65-F5344CB8AC3E}">
        <p14:creationId xmlns:p14="http://schemas.microsoft.com/office/powerpoint/2010/main" val="26208403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5AA5C-2492-16BE-FD18-1AD2C43060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9A02E48-8B60-5FDC-6A0E-E82BA883A5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CE5CE4-B7F1-AC7B-9488-910F79710F9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26F9FA0-798A-7B32-F174-A259CF1829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7E1B61-4B93-57CA-CC8A-ED83CC25736D}"/>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31982505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9F1CD-27CD-8982-81B8-A273B89A37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6399D6-D9D2-7519-ACAE-3BB4D5DA18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2A9AD4-2C4D-F449-3D68-D6B518C318E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5D2BE66-2B3C-9B53-5D20-3B6EE9C035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6A94E-DFC2-C399-0EC8-E1CAF89881F2}"/>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1843073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7424FD-0868-2FC3-8577-90450EC795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BC718C-F7CF-E6B0-5B82-208FE01119E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68F09-423B-8A65-6AA7-BBF3AE18294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9AB7815-AB04-4F03-9D28-E5824BFE9B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AD775F-8B08-A3C5-4F9E-07806E512E12}"/>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8414470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7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800" b="0" i="0" baseline="0">
              <a:latin typeface="Arial"/>
              <a:ea typeface="Arial Unicode MS"/>
              <a:cs typeface="Arial"/>
              <a:sym typeface="Arial"/>
            </a:endParaRPr>
          </a:p>
        </p:txBody>
      </p:sp>
      <p:sp>
        <p:nvSpPr>
          <p:cNvPr id="2" name="Title 1"/>
          <p:cNvSpPr>
            <a:spLocks noGrp="1"/>
          </p:cNvSpPr>
          <p:nvPr>
            <p:ph type="title"/>
          </p:nvPr>
        </p:nvSpPr>
        <p:spPr bwMode="gray"/>
        <p:txBody>
          <a:bodyPr/>
          <a:lstStyle/>
          <a:p>
            <a:r>
              <a:rPr lang="en-US" noProof="0"/>
              <a:t>Click to edit Master title style</a:t>
            </a:r>
          </a:p>
        </p:txBody>
      </p:sp>
      <p:sp>
        <p:nvSpPr>
          <p:cNvPr id="4" name="Date Placeholder 3"/>
          <p:cNvSpPr>
            <a:spLocks noGrp="1"/>
          </p:cNvSpPr>
          <p:nvPr>
            <p:ph type="dt" sz="half" idx="10"/>
          </p:nvPr>
        </p:nvSpPr>
        <p:spPr bwMode="gray">
          <a:xfrm>
            <a:off x="3739341" y="6484751"/>
            <a:ext cx="2743200" cy="365125"/>
          </a:xfrm>
        </p:spPr>
        <p:txBody>
          <a:bodyPr/>
          <a:lstStyle/>
          <a:p>
            <a:endParaRPr lang="en-US" noProof="0"/>
          </a:p>
        </p:txBody>
      </p:sp>
      <p:sp>
        <p:nvSpPr>
          <p:cNvPr id="6" name="Slide Number Placeholder 5"/>
          <p:cNvSpPr>
            <a:spLocks noGrp="1"/>
          </p:cNvSpPr>
          <p:nvPr>
            <p:ph type="sldNum" sz="quarter" idx="12"/>
          </p:nvPr>
        </p:nvSpPr>
        <p:spPr bwMode="gray">
          <a:xfrm>
            <a:off x="196044" y="6484750"/>
            <a:ext cx="2743200" cy="365125"/>
          </a:xfrm>
        </p:spPr>
        <p:txBody>
          <a:bodyPr/>
          <a:lstStyle>
            <a:lvl1pPr algn="l">
              <a:defRPr sz="1400" b="1"/>
            </a:lvl1pPr>
          </a:lstStyle>
          <a:p>
            <a:fld id="{EEAD9179-7A6B-4268-BEB2-F3B8EB06115B}" type="slidenum">
              <a:rPr lang="en-US" smtClean="0"/>
              <a:pPr/>
              <a:t>‹#›</a:t>
            </a:fld>
            <a:endParaRPr lang="en-US"/>
          </a:p>
        </p:txBody>
      </p:sp>
      <p:sp>
        <p:nvSpPr>
          <p:cNvPr id="11" name="Text Placeholder 10"/>
          <p:cNvSpPr>
            <a:spLocks noGrp="1"/>
          </p:cNvSpPr>
          <p:nvPr>
            <p:ph type="body" sz="quarter" idx="14"/>
          </p:nvPr>
        </p:nvSpPr>
        <p:spPr bwMode="gray">
          <a:xfrm>
            <a:off x="980409" y="1732751"/>
            <a:ext cx="10801406" cy="4752000"/>
          </a:xfrm>
        </p:spPr>
        <p:txBody>
          <a:bodyPr lIns="72000" rIns="72000"/>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980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0001F-28F8-27EA-22E4-4CD06ACA23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693BF2-D865-EFC2-3EC3-BD0543C77C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355E67-3AB7-06B8-D680-48030BA309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9CBE9A0-C64A-A7B6-7FA6-DC2259050C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334CFE-EC93-7C4B-0A6A-A79563AE3B90}"/>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1913267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B530B-9866-D9B0-17B1-F1B3F30814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076C32-2B0E-DC25-DC73-9D9980E404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E461245-A038-667C-21A9-EB38B60C171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37F57A5-039D-1380-C348-0D14342C98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1AD113-7221-344E-B2D0-DD6796D20C37}"/>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026813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F7B07-63F4-9FF5-EA71-811AA60FED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099ADC-7A4A-9D05-26D8-56D12B5DF0A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5E03CA-0DF3-7D3F-A9BF-281E23D0AE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19012FC-25A6-28AF-0E98-CC829FDD9DF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7C21DBA-BEF6-AB97-CC1C-763334823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4DD835-0F7E-6A24-96D9-30F2A34F9244}"/>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4201056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E3174-73F5-83D5-0814-4A1C947897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8404F-C460-8D8A-BAD1-B02255F71B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1C806A-BBA9-483F-5410-C5B87BE3CB6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CADC2B6-63F3-D17B-3120-40ECB860E8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20821A-EC1C-493C-996F-FD0ED0BA76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B01361D-DA7A-11BC-3273-80B77DBE06B0}"/>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3AF8664-DDCB-F02C-32EC-80FE850162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1FD556-0706-B695-3F10-BAD2F0D7EF4B}"/>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978905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E8DAD-12E9-3D42-E699-4E31472A29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89155F-30A9-62D4-C337-FE4F69DCCB9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5FC5B3-3BED-4D7F-C848-95A95D4872E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33E9BE-E841-2708-C281-5DEB7FE85B76}"/>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380250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F8685E-428C-A75B-1BFA-517DF1B816C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2E03026-D856-39B5-DEAD-273FCCF2CB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0D7F60-C951-8E8A-28D3-72299B1D9C0F}"/>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350833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236B4-38DB-4346-3E0A-9D486B75E7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378A1C-4B4C-8DC0-4CA9-FDBF0F1A39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AC99AD1-A7D4-A312-B58C-659759641E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77FE55-F29E-47BE-5A34-3C7D9E70D73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7324835-BEDA-24CC-5A24-857A30E0D0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435673-D176-C841-EF0C-6AA730A96439}"/>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31351401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96F53-64AD-3E7B-5D90-948EF9660A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7D653C3-322D-4C2B-B269-3C0EB76B6D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510C3C4-5C79-C99F-783C-47D10E109B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CFBCC1-7300-6F2F-D967-5129A421473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2B2B49D-2870-ACD3-B048-9F16AC1D4D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52EDD3-7217-8F77-A29E-5C46DB380269}"/>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418816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DF114E-7D5F-A103-0B72-F562E173BE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C17666-41C1-6174-0017-935298E6F4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E2A2FA-696A-D205-173A-62161B6EBD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6A24E92-2A3E-F8EC-68CF-4B2703BB7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04FB5E-0AA1-A137-47B2-5D76F93E3C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295556-0C65-44DB-A0B3-7C404E3ECCC3}" type="slidenum">
              <a:rPr lang="en-US" smtClean="0"/>
              <a:t>‹#›</a:t>
            </a:fld>
            <a:endParaRPr lang="en-US"/>
          </a:p>
        </p:txBody>
      </p:sp>
      <p:sp>
        <p:nvSpPr>
          <p:cNvPr id="8" name="TextBox 7">
            <a:extLst>
              <a:ext uri="{FF2B5EF4-FFF2-40B4-BE49-F238E27FC236}">
                <a16:creationId xmlns:a16="http://schemas.microsoft.com/office/drawing/2014/main" id="{03E95661-7743-F296-1F96-72676123408F}"/>
              </a:ext>
            </a:extLst>
          </p:cNvPr>
          <p:cNvSpPr txBox="1"/>
          <p:nvPr userDrawn="1">
            <p:extLst>
              <p:ext uri="{1162E1C5-73C7-4A58-AE30-91384D911F3F}">
                <p184:classification xmlns:p184="http://schemas.microsoft.com/office/powerpoint/2018/4/main" val="ftr"/>
              </p:ext>
            </p:extLst>
          </p:nvPr>
        </p:nvSpPr>
        <p:spPr>
          <a:xfrm>
            <a:off x="10821988" y="6522720"/>
            <a:ext cx="1433512" cy="335280"/>
          </a:xfrm>
          <a:prstGeom prst="rect">
            <a:avLst/>
          </a:prstGeom>
        </p:spPr>
        <p:txBody>
          <a:bodyPr horzOverflow="overflow" lIns="0" tIns="0" rIns="0" bIns="0">
            <a:spAutoFit/>
          </a:bodyPr>
          <a:lstStyle/>
          <a:p>
            <a:pPr algn="l"/>
            <a:r>
              <a:rPr lang="en-US" sz="2200">
                <a:solidFill>
                  <a:srgbClr val="FF8939"/>
                </a:solidFill>
                <a:latin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50462247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www.javatpoint.com/multi-layer-perceptron-in-tensorflow" TargetMode="External"/><Relationship Id="rId5" Type="http://schemas.openxmlformats.org/officeDocument/2006/relationships/hyperlink" Target="https://www.researchgate.net/publication/345327934/figure/fig3/AS:1022810793209856@1620868504478/Flow-chart-of-XGBoost.png" TargetMode="Externa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3.sv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6.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7.png"/><Relationship Id="rId9"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microsoft.com/office/2018/10/relationships/comments" Target="../comments/modernComment_7FF646C7_EE6AB1E0.xml"/><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2.png"/><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40.png"/><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47.png"/><Relationship Id="rId5" Type="http://schemas.openxmlformats.org/officeDocument/2006/relationships/image" Target="../media/image57.png"/><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59.png"/></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microsoft.com/office/2018/10/relationships/comments" Target="../comments/modernComment_7FF646BF_5A9266E0.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proceedings.neurips.cc/paper_files/paper/2017/file/6449f44a102fde848669bdd9eb6b76fa-Paper.pdf" TargetMode="External"/><Relationship Id="rId1" Type="http://schemas.openxmlformats.org/officeDocument/2006/relationships/slideLayout" Target="../slideLayouts/slideLayout12.xml"/><Relationship Id="rId6" Type="http://schemas.openxmlformats.org/officeDocument/2006/relationships/hyperlink" Target="https://www.analyticsvidhya.com/blog/2021/10/an-introduction-to-random-forest-algorithm-for-beginners/" TargetMode="External"/><Relationship Id="rId5" Type="http://schemas.openxmlformats.org/officeDocument/2006/relationships/hyperlink" Target="https://towardsdatascience.com/boosting-showdown-scikit-learn-vs-xgboost-vs-lightgbm-vs-catboost-in-sentiment-classification-f7c7f46fd956" TargetMode="External"/><Relationship Id="rId4" Type="http://schemas.openxmlformats.org/officeDocument/2006/relationships/hyperlink" Target="https://lightgbm.readthedocs.io/en/stable/" TargetMode="Externa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6BA84-DCD5-9E45-57C1-47E4B920DEDD}"/>
              </a:ext>
            </a:extLst>
          </p:cNvPr>
          <p:cNvSpPr>
            <a:spLocks noGrp="1"/>
          </p:cNvSpPr>
          <p:nvPr>
            <p:ph type="ctrTitle"/>
          </p:nvPr>
        </p:nvSpPr>
        <p:spPr>
          <a:xfrm>
            <a:off x="874644" y="961178"/>
            <a:ext cx="5190434" cy="2684379"/>
          </a:xfrm>
        </p:spPr>
        <p:txBody>
          <a:bodyPr>
            <a:noAutofit/>
          </a:bodyPr>
          <a:lstStyle/>
          <a:p>
            <a:pPr algn="l">
              <a:lnSpc>
                <a:spcPct val="100000"/>
              </a:lnSpc>
            </a:pPr>
            <a:r>
              <a:rPr lang="en-US" sz="3600">
                <a:solidFill>
                  <a:srgbClr val="10384F"/>
                </a:solidFill>
                <a:effectLst/>
                <a:latin typeface="Arial"/>
                <a:cs typeface="Arial"/>
              </a:rPr>
              <a:t>Applications of Machine Learning in Improving Spatial Resolution of Modeled Weather Datasets </a:t>
            </a:r>
            <a:endParaRPr lang="en-US">
              <a:cs typeface="Calibri Light" panose="020F0302020204030204"/>
            </a:endParaRPr>
          </a:p>
        </p:txBody>
      </p:sp>
      <p:sp>
        <p:nvSpPr>
          <p:cNvPr id="3" name="Subtitle 2">
            <a:extLst>
              <a:ext uri="{FF2B5EF4-FFF2-40B4-BE49-F238E27FC236}">
                <a16:creationId xmlns:a16="http://schemas.microsoft.com/office/drawing/2014/main" id="{38F72305-8CA3-1450-F878-0014A899FB3E}"/>
              </a:ext>
            </a:extLst>
          </p:cNvPr>
          <p:cNvSpPr>
            <a:spLocks noGrp="1"/>
          </p:cNvSpPr>
          <p:nvPr>
            <p:ph type="subTitle" idx="1"/>
          </p:nvPr>
        </p:nvSpPr>
        <p:spPr>
          <a:xfrm>
            <a:off x="1613691" y="4452985"/>
            <a:ext cx="3125337" cy="1136843"/>
          </a:xfrm>
        </p:spPr>
        <p:txBody>
          <a:bodyPr vert="horz" lIns="91440" tIns="45720" rIns="91440" bIns="45720" rtlCol="0" anchor="t">
            <a:normAutofit fontScale="92500"/>
          </a:bodyPr>
          <a:lstStyle/>
          <a:p>
            <a:r>
              <a:rPr lang="en-US" sz="1800" b="1">
                <a:latin typeface="Arial"/>
                <a:cs typeface="Arial"/>
              </a:rPr>
              <a:t>Md Fahim Hasan</a:t>
            </a:r>
          </a:p>
          <a:p>
            <a:r>
              <a:rPr lang="en-US" sz="1800">
                <a:latin typeface="Arial"/>
                <a:cs typeface="Arial"/>
              </a:rPr>
              <a:t>Global Vegetable Phenotyping</a:t>
            </a:r>
          </a:p>
          <a:p>
            <a:r>
              <a:rPr lang="en-US" sz="1800">
                <a:latin typeface="Arial"/>
                <a:cs typeface="Arial"/>
              </a:rPr>
              <a:t>Vegetable R&amp;D APD Intern</a:t>
            </a:r>
          </a:p>
        </p:txBody>
      </p:sp>
      <p:pic>
        <p:nvPicPr>
          <p:cNvPr id="4" name="Picture 3" descr="A picture containing circle, graphics, font, symbol&#10;&#10;Description automatically generated">
            <a:extLst>
              <a:ext uri="{FF2B5EF4-FFF2-40B4-BE49-F238E27FC236}">
                <a16:creationId xmlns:a16="http://schemas.microsoft.com/office/drawing/2014/main" id="{89D577D2-D5F0-BCAC-5B1D-9DBE5C9E4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4515" y="1135304"/>
            <a:ext cx="3956987" cy="3956987"/>
          </a:xfrm>
          <a:prstGeom prst="rect">
            <a:avLst/>
          </a:prstGeom>
        </p:spPr>
      </p:pic>
      <p:sp>
        <p:nvSpPr>
          <p:cNvPr id="5" name="Subtitle 2">
            <a:extLst>
              <a:ext uri="{FF2B5EF4-FFF2-40B4-BE49-F238E27FC236}">
                <a16:creationId xmlns:a16="http://schemas.microsoft.com/office/drawing/2014/main" id="{86E3427F-CEA6-580F-2887-D38E7EF0BF56}"/>
              </a:ext>
            </a:extLst>
          </p:cNvPr>
          <p:cNvSpPr txBox="1">
            <a:spLocks/>
          </p:cNvSpPr>
          <p:nvPr/>
        </p:nvSpPr>
        <p:spPr>
          <a:xfrm>
            <a:off x="2282417" y="6018958"/>
            <a:ext cx="1708064" cy="340515"/>
          </a:xfrm>
          <a:prstGeom prst="rect">
            <a:avLst/>
          </a:prstGeom>
        </p:spPr>
        <p:txBody>
          <a:bodyPr vert="horz" lIns="91440" tIns="45720" rIns="91440" bIns="45720" rtlCol="0" anchor="t">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a:latin typeface="Arial"/>
                <a:cs typeface="Arial"/>
              </a:rPr>
              <a:t>01 August 2023</a:t>
            </a:r>
          </a:p>
        </p:txBody>
      </p:sp>
      <p:cxnSp>
        <p:nvCxnSpPr>
          <p:cNvPr id="7" name="Straight Connector 6">
            <a:extLst>
              <a:ext uri="{FF2B5EF4-FFF2-40B4-BE49-F238E27FC236}">
                <a16:creationId xmlns:a16="http://schemas.microsoft.com/office/drawing/2014/main" id="{B26CD7DE-8844-25E4-E55D-B5BB8971A186}"/>
              </a:ext>
            </a:extLst>
          </p:cNvPr>
          <p:cNvCxnSpPr>
            <a:cxnSpLocks/>
          </p:cNvCxnSpPr>
          <p:nvPr/>
        </p:nvCxnSpPr>
        <p:spPr>
          <a:xfrm>
            <a:off x="1613691" y="5851745"/>
            <a:ext cx="3045516" cy="0"/>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7978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363539"/>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ML/DL Model Frameworks</a:t>
            </a:r>
          </a:p>
        </p:txBody>
      </p:sp>
      <p:sp>
        <p:nvSpPr>
          <p:cNvPr id="2" name="Slide Number Placeholder 1">
            <a:extLst>
              <a:ext uri="{FF2B5EF4-FFF2-40B4-BE49-F238E27FC236}">
                <a16:creationId xmlns:a16="http://schemas.microsoft.com/office/drawing/2014/main" id="{01022AA2-4ED6-33F1-DCC7-83E7BA387B4B}"/>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0</a:t>
            </a:fld>
            <a:endParaRPr lang="en-US" noProof="0">
              <a:latin typeface="Arial"/>
              <a:cs typeface="Arial"/>
            </a:endParaRPr>
          </a:p>
        </p:txBody>
      </p:sp>
      <p:sp>
        <p:nvSpPr>
          <p:cNvPr id="3" name="TextBox 2">
            <a:extLst>
              <a:ext uri="{FF2B5EF4-FFF2-40B4-BE49-F238E27FC236}">
                <a16:creationId xmlns:a16="http://schemas.microsoft.com/office/drawing/2014/main" id="{76C83492-675C-BDF8-08D6-D05F59107492}"/>
              </a:ext>
            </a:extLst>
          </p:cNvPr>
          <p:cNvSpPr txBox="1"/>
          <p:nvPr/>
        </p:nvSpPr>
        <p:spPr>
          <a:xfrm>
            <a:off x="1060582" y="1174887"/>
            <a:ext cx="5766346" cy="2957861"/>
          </a:xfrm>
          <a:prstGeom prst="rect">
            <a:avLst/>
          </a:prstGeom>
          <a:noFill/>
        </p:spPr>
        <p:txBody>
          <a:bodyPr wrap="square" lIns="91440" tIns="45720" rIns="91440" bIns="45720" rtlCol="0" anchor="t">
            <a:spAutoFit/>
          </a:bodyPr>
          <a:lstStyle/>
          <a:p>
            <a:pPr>
              <a:lnSpc>
                <a:spcPct val="150000"/>
              </a:lnSpc>
            </a:pPr>
            <a:r>
              <a:rPr lang="en-US" b="1">
                <a:latin typeface="Arial"/>
                <a:cs typeface="Arial"/>
              </a:rPr>
              <a:t>Machine Learning</a:t>
            </a:r>
          </a:p>
          <a:p>
            <a:pPr marL="285750" indent="-285750">
              <a:lnSpc>
                <a:spcPct val="150000"/>
              </a:lnSpc>
              <a:buFont typeface="Wingdings" panose="05000000000000000000" pitchFamily="2" charset="2"/>
              <a:buChar char="ü"/>
            </a:pPr>
            <a:r>
              <a:rPr lang="en-US" b="1">
                <a:solidFill>
                  <a:schemeClr val="accent1"/>
                </a:solidFill>
                <a:latin typeface="Arial"/>
                <a:cs typeface="Arial"/>
              </a:rPr>
              <a:t>Gradient-based One-Side Sampling (GOSS)</a:t>
            </a:r>
            <a:r>
              <a:rPr lang="en-US">
                <a:latin typeface="Arial"/>
                <a:cs typeface="Arial"/>
              </a:rPr>
              <a:t> from </a:t>
            </a:r>
            <a:r>
              <a:rPr lang="en-US" b="1" err="1">
                <a:latin typeface="Arial"/>
                <a:cs typeface="Arial"/>
              </a:rPr>
              <a:t>LightGBM</a:t>
            </a:r>
            <a:r>
              <a:rPr lang="en-US">
                <a:latin typeface="Arial"/>
                <a:cs typeface="Arial"/>
              </a:rPr>
              <a:t>: </a:t>
            </a:r>
            <a:r>
              <a:rPr lang="en-US" i="1">
                <a:latin typeface="Arial"/>
                <a:cs typeface="Arial"/>
              </a:rPr>
              <a:t>an advanced form of Gradient Boosting Decision Tree</a:t>
            </a:r>
          </a:p>
          <a:p>
            <a:pPr marL="285750" indent="-285750">
              <a:lnSpc>
                <a:spcPct val="150000"/>
              </a:lnSpc>
              <a:buFont typeface="Wingdings" panose="05000000000000000000" pitchFamily="2" charset="2"/>
              <a:buChar char="ü"/>
            </a:pPr>
            <a:r>
              <a:rPr lang="en-US" i="1">
                <a:latin typeface="Arial"/>
                <a:cs typeface="Arial"/>
              </a:rPr>
              <a:t>input variables:</a:t>
            </a:r>
            <a:r>
              <a:rPr lang="en-US">
                <a:latin typeface="Arial"/>
                <a:cs typeface="Arial"/>
              </a:rPr>
              <a:t> ERA5 datasets, Topography, </a:t>
            </a:r>
            <a:r>
              <a:rPr lang="en-US" err="1">
                <a:latin typeface="Arial"/>
                <a:cs typeface="Arial"/>
              </a:rPr>
              <a:t>lat</a:t>
            </a:r>
            <a:r>
              <a:rPr lang="en-US">
                <a:latin typeface="Arial"/>
                <a:cs typeface="Arial"/>
              </a:rPr>
              <a:t>/</a:t>
            </a:r>
            <a:r>
              <a:rPr lang="en-US" err="1">
                <a:latin typeface="Arial"/>
                <a:cs typeface="Arial"/>
              </a:rPr>
              <a:t>lon</a:t>
            </a:r>
            <a:r>
              <a:rPr lang="en-US">
                <a:latin typeface="Arial"/>
                <a:cs typeface="Arial"/>
              </a:rPr>
              <a:t>, month; </a:t>
            </a:r>
            <a:r>
              <a:rPr lang="en-US" i="1">
                <a:latin typeface="Arial"/>
                <a:cs typeface="Arial"/>
              </a:rPr>
              <a:t>training data: </a:t>
            </a:r>
            <a:r>
              <a:rPr lang="en-US">
                <a:latin typeface="Arial"/>
                <a:cs typeface="Arial"/>
              </a:rPr>
              <a:t>TWC datasets</a:t>
            </a:r>
          </a:p>
          <a:p>
            <a:pPr marL="285750" indent="-285750">
              <a:lnSpc>
                <a:spcPct val="150000"/>
              </a:lnSpc>
              <a:buFont typeface="Wingdings" panose="05000000000000000000" pitchFamily="2" charset="2"/>
              <a:buChar char="ü"/>
            </a:pPr>
            <a:r>
              <a:rPr lang="en-US">
                <a:latin typeface="Arial"/>
                <a:cs typeface="Arial"/>
              </a:rPr>
              <a:t>80-20 </a:t>
            </a:r>
            <a:r>
              <a:rPr lang="en-US">
                <a:solidFill>
                  <a:srgbClr val="7030A0"/>
                </a:solidFill>
                <a:latin typeface="Arial"/>
                <a:cs typeface="Arial"/>
              </a:rPr>
              <a:t>train</a:t>
            </a:r>
            <a:r>
              <a:rPr lang="en-US">
                <a:latin typeface="Arial"/>
                <a:cs typeface="Arial"/>
              </a:rPr>
              <a:t>-</a:t>
            </a:r>
            <a:r>
              <a:rPr lang="en-US">
                <a:solidFill>
                  <a:schemeClr val="accent2">
                    <a:lumMod val="75000"/>
                  </a:schemeClr>
                </a:solidFill>
                <a:latin typeface="Arial"/>
                <a:cs typeface="Arial"/>
              </a:rPr>
              <a:t>test</a:t>
            </a:r>
            <a:r>
              <a:rPr lang="en-US">
                <a:latin typeface="Arial"/>
                <a:cs typeface="Arial"/>
              </a:rPr>
              <a:t> split by date </a:t>
            </a:r>
          </a:p>
        </p:txBody>
      </p:sp>
      <p:sp>
        <p:nvSpPr>
          <p:cNvPr id="10" name="TextBox 9">
            <a:extLst>
              <a:ext uri="{FF2B5EF4-FFF2-40B4-BE49-F238E27FC236}">
                <a16:creationId xmlns:a16="http://schemas.microsoft.com/office/drawing/2014/main" id="{0493CA3C-A4A5-7D4C-211C-75EC0115E151}"/>
              </a:ext>
            </a:extLst>
          </p:cNvPr>
          <p:cNvSpPr txBox="1"/>
          <p:nvPr/>
        </p:nvSpPr>
        <p:spPr>
          <a:xfrm>
            <a:off x="1124847" y="4455807"/>
            <a:ext cx="5908389" cy="1711366"/>
          </a:xfrm>
          <a:prstGeom prst="rect">
            <a:avLst/>
          </a:prstGeom>
          <a:noFill/>
        </p:spPr>
        <p:txBody>
          <a:bodyPr wrap="square" lIns="91440" tIns="45720" rIns="91440" bIns="45720" rtlCol="0" anchor="t">
            <a:spAutoFit/>
          </a:bodyPr>
          <a:lstStyle/>
          <a:p>
            <a:pPr>
              <a:lnSpc>
                <a:spcPct val="150000"/>
              </a:lnSpc>
            </a:pPr>
            <a:r>
              <a:rPr lang="en-US" b="1">
                <a:latin typeface="Arial"/>
                <a:cs typeface="Arial"/>
              </a:rPr>
              <a:t>Deep Learning</a:t>
            </a:r>
          </a:p>
          <a:p>
            <a:pPr marL="342900" indent="-342900">
              <a:lnSpc>
                <a:spcPct val="150000"/>
              </a:lnSpc>
              <a:buFont typeface="Wingdings" panose="05000000000000000000" pitchFamily="2" charset="2"/>
              <a:buChar char="ü"/>
            </a:pPr>
            <a:r>
              <a:rPr lang="en-US">
                <a:latin typeface="Arial"/>
                <a:cs typeface="Arial"/>
              </a:rPr>
              <a:t>Multi-Layered Perceptron (MLP)</a:t>
            </a:r>
            <a:endParaRPr lang="en-US" b="1" u="sng">
              <a:latin typeface="Arial"/>
              <a:cs typeface="Arial"/>
            </a:endParaRPr>
          </a:p>
          <a:p>
            <a:pPr marL="285750" indent="-285750">
              <a:lnSpc>
                <a:spcPct val="150000"/>
              </a:lnSpc>
              <a:buFont typeface="Wingdings" panose="05000000000000000000" pitchFamily="2" charset="2"/>
              <a:buChar char="ü"/>
            </a:pPr>
            <a:r>
              <a:rPr lang="en-US">
                <a:latin typeface="Arial"/>
                <a:cs typeface="Arial"/>
              </a:rPr>
              <a:t>Getting a lot of focus recently </a:t>
            </a:r>
            <a:r>
              <a:rPr lang="en-US">
                <a:solidFill>
                  <a:schemeClr val="accent5">
                    <a:lumMod val="75000"/>
                  </a:schemeClr>
                </a:solidFill>
                <a:latin typeface="Arial"/>
                <a:cs typeface="Arial"/>
              </a:rPr>
              <a:t>(</a:t>
            </a:r>
            <a:r>
              <a:rPr lang="en-US">
                <a:solidFill>
                  <a:srgbClr val="0070C0"/>
                </a:solidFill>
                <a:latin typeface="Arial"/>
                <a:cs typeface="Arial"/>
              </a:rPr>
              <a:t>Gonzalez 2023, Wang et al. 2022, Sha et al. 2020, Anh et al. 2019)</a:t>
            </a:r>
            <a:r>
              <a:rPr lang="en-US">
                <a:latin typeface="Arial"/>
                <a:cs typeface="Arial"/>
              </a:rPr>
              <a:t> </a:t>
            </a:r>
          </a:p>
        </p:txBody>
      </p:sp>
      <p:pic>
        <p:nvPicPr>
          <p:cNvPr id="12" name="Picture 11" descr="A diagram of a network&#10;&#10;Description automatically generated">
            <a:extLst>
              <a:ext uri="{FF2B5EF4-FFF2-40B4-BE49-F238E27FC236}">
                <a16:creationId xmlns:a16="http://schemas.microsoft.com/office/drawing/2014/main" id="{90ABC447-2E42-0759-A4D9-C6C53471FA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1246" y="4079397"/>
            <a:ext cx="3820172" cy="2292103"/>
          </a:xfrm>
          <a:prstGeom prst="rect">
            <a:avLst/>
          </a:prstGeom>
        </p:spPr>
      </p:pic>
      <p:grpSp>
        <p:nvGrpSpPr>
          <p:cNvPr id="17" name="Group 16">
            <a:extLst>
              <a:ext uri="{FF2B5EF4-FFF2-40B4-BE49-F238E27FC236}">
                <a16:creationId xmlns:a16="http://schemas.microsoft.com/office/drawing/2014/main" id="{64FBD80A-68D5-FAA2-CDB2-774F6A09765B}"/>
              </a:ext>
            </a:extLst>
          </p:cNvPr>
          <p:cNvGrpSpPr/>
          <p:nvPr/>
        </p:nvGrpSpPr>
        <p:grpSpPr>
          <a:xfrm>
            <a:off x="7071549" y="1174887"/>
            <a:ext cx="4296496" cy="2657961"/>
            <a:chOff x="6968971" y="1106463"/>
            <a:chExt cx="4638771" cy="3023763"/>
          </a:xfrm>
        </p:grpSpPr>
        <p:pic>
          <p:nvPicPr>
            <p:cNvPr id="8" name="Picture 7">
              <a:extLst>
                <a:ext uri="{FF2B5EF4-FFF2-40B4-BE49-F238E27FC236}">
                  <a16:creationId xmlns:a16="http://schemas.microsoft.com/office/drawing/2014/main" id="{C67A9180-74C5-2B09-DEAF-F24C087AFB7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68971" y="1106463"/>
              <a:ext cx="4638771" cy="2941527"/>
            </a:xfrm>
            <a:prstGeom prst="rect">
              <a:avLst/>
            </a:prstGeom>
          </p:spPr>
        </p:pic>
        <p:sp>
          <p:nvSpPr>
            <p:cNvPr id="16" name="TextBox 15">
              <a:extLst>
                <a:ext uri="{FF2B5EF4-FFF2-40B4-BE49-F238E27FC236}">
                  <a16:creationId xmlns:a16="http://schemas.microsoft.com/office/drawing/2014/main" id="{E1D5A8CA-E18A-9013-002D-ECA1C349ACB2}"/>
                </a:ext>
              </a:extLst>
            </p:cNvPr>
            <p:cNvSpPr txBox="1"/>
            <p:nvPr/>
          </p:nvSpPr>
          <p:spPr>
            <a:xfrm>
              <a:off x="8753383" y="3710065"/>
              <a:ext cx="1065320" cy="420161"/>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US">
                  <a:latin typeface="Arial"/>
                  <a:cs typeface="Arial"/>
                </a:rPr>
                <a:t>Output</a:t>
              </a:r>
            </a:p>
          </p:txBody>
        </p:sp>
      </p:grpSp>
      <p:sp>
        <p:nvSpPr>
          <p:cNvPr id="21" name="TextBox 20">
            <a:extLst>
              <a:ext uri="{FF2B5EF4-FFF2-40B4-BE49-F238E27FC236}">
                <a16:creationId xmlns:a16="http://schemas.microsoft.com/office/drawing/2014/main" id="{8BBD99BD-72B6-B1F3-A76A-4FE9DD5EA5DC}"/>
              </a:ext>
            </a:extLst>
          </p:cNvPr>
          <p:cNvSpPr txBox="1"/>
          <p:nvPr/>
        </p:nvSpPr>
        <p:spPr>
          <a:xfrm>
            <a:off x="1060582" y="6497028"/>
            <a:ext cx="5360044" cy="276999"/>
          </a:xfrm>
          <a:prstGeom prst="rect">
            <a:avLst/>
          </a:prstGeom>
          <a:noFill/>
        </p:spPr>
        <p:txBody>
          <a:bodyPr wrap="square" lIns="91440" tIns="45720" rIns="91440" bIns="45720" rtlCol="0" anchor="t">
            <a:spAutoFit/>
          </a:bodyPr>
          <a:lstStyle/>
          <a:p>
            <a:r>
              <a:rPr lang="en-US" sz="1200">
                <a:latin typeface="Arial"/>
                <a:cs typeface="Arial"/>
              </a:rPr>
              <a:t>Figure Source: </a:t>
            </a:r>
            <a:r>
              <a:rPr lang="en-US" sz="1200">
                <a:latin typeface="Arial"/>
                <a:cs typeface="Arial"/>
                <a:hlinkClick r:id="rId5"/>
              </a:rPr>
              <a:t>LGBM Decision Tree</a:t>
            </a:r>
            <a:r>
              <a:rPr lang="en-US" sz="1200">
                <a:latin typeface="Arial"/>
                <a:cs typeface="Arial"/>
              </a:rPr>
              <a:t>, </a:t>
            </a:r>
            <a:r>
              <a:rPr lang="en-US" sz="1200">
                <a:latin typeface="Arial"/>
                <a:cs typeface="Arial"/>
                <a:hlinkClick r:id="rId6"/>
              </a:rPr>
              <a:t>Multi Layer perceptron in Tensorflow</a:t>
            </a:r>
            <a:endParaRPr lang="en-US" sz="1200">
              <a:latin typeface="Arial"/>
              <a:cs typeface="Arial"/>
            </a:endParaRPr>
          </a:p>
        </p:txBody>
      </p:sp>
    </p:spTree>
    <p:extLst>
      <p:ext uri="{BB962C8B-B14F-4D97-AF65-F5344CB8AC3E}">
        <p14:creationId xmlns:p14="http://schemas.microsoft.com/office/powerpoint/2010/main" val="3091098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4km</a:t>
            </a:r>
            <a:r>
              <a:rPr lang="en-US" sz="4000" b="1">
                <a:solidFill>
                  <a:schemeClr val="accent1">
                    <a:lumMod val="50000"/>
                  </a:schemeClr>
                </a:solidFill>
                <a:latin typeface="Arial"/>
                <a:cs typeface="Arial"/>
              </a:rPr>
              <a:t> resolution Framework</a:t>
            </a:r>
          </a:p>
        </p:txBody>
      </p:sp>
      <p:sp>
        <p:nvSpPr>
          <p:cNvPr id="2" name="Rectangle: Rounded Corners 1">
            <a:extLst>
              <a:ext uri="{FF2B5EF4-FFF2-40B4-BE49-F238E27FC236}">
                <a16:creationId xmlns:a16="http://schemas.microsoft.com/office/drawing/2014/main" id="{D423FFAF-9CDC-ACC2-E90E-850A37957BAA}"/>
              </a:ext>
            </a:extLst>
          </p:cNvPr>
          <p:cNvSpPr/>
          <p:nvPr/>
        </p:nvSpPr>
        <p:spPr>
          <a:xfrm rot="16200000">
            <a:off x="2273539" y="3033635"/>
            <a:ext cx="4469944" cy="1206370"/>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Data Resampling to </a:t>
            </a:r>
          </a:p>
          <a:p>
            <a:pPr algn="ctr"/>
            <a:r>
              <a:rPr lang="en-US" b="1">
                <a:solidFill>
                  <a:schemeClr val="tx1"/>
                </a:solidFill>
                <a:latin typeface="Arial"/>
                <a:cs typeface="Arial"/>
              </a:rPr>
              <a:t>4km Resolution</a:t>
            </a:r>
          </a:p>
        </p:txBody>
      </p:sp>
      <p:sp>
        <p:nvSpPr>
          <p:cNvPr id="3" name="Rectangle 2">
            <a:extLst>
              <a:ext uri="{FF2B5EF4-FFF2-40B4-BE49-F238E27FC236}">
                <a16:creationId xmlns:a16="http://schemas.microsoft.com/office/drawing/2014/main" id="{BBE374DC-2B4D-CC21-509C-1EE76C7459BF}"/>
              </a:ext>
            </a:extLst>
          </p:cNvPr>
          <p:cNvSpPr/>
          <p:nvPr/>
        </p:nvSpPr>
        <p:spPr>
          <a:xfrm>
            <a:off x="2306014" y="2155503"/>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ERA5</a:t>
            </a:r>
          </a:p>
        </p:txBody>
      </p:sp>
      <p:sp>
        <p:nvSpPr>
          <p:cNvPr id="5" name="Oval 4">
            <a:extLst>
              <a:ext uri="{FF2B5EF4-FFF2-40B4-BE49-F238E27FC236}">
                <a16:creationId xmlns:a16="http://schemas.microsoft.com/office/drawing/2014/main" id="{9F7F57A7-442D-82AB-3AD9-521A308C82AF}"/>
              </a:ext>
            </a:extLst>
          </p:cNvPr>
          <p:cNvSpPr/>
          <p:nvPr/>
        </p:nvSpPr>
        <p:spPr>
          <a:xfrm>
            <a:off x="32105" y="2825973"/>
            <a:ext cx="1880965" cy="1153411"/>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Data Query from CSW</a:t>
            </a:r>
          </a:p>
        </p:txBody>
      </p:sp>
      <p:sp>
        <p:nvSpPr>
          <p:cNvPr id="6" name="Rectangle 5">
            <a:extLst>
              <a:ext uri="{FF2B5EF4-FFF2-40B4-BE49-F238E27FC236}">
                <a16:creationId xmlns:a16="http://schemas.microsoft.com/office/drawing/2014/main" id="{D027ECB3-9E9A-490C-3B18-F9FAFF0F379D}"/>
              </a:ext>
            </a:extLst>
          </p:cNvPr>
          <p:cNvSpPr/>
          <p:nvPr/>
        </p:nvSpPr>
        <p:spPr>
          <a:xfrm>
            <a:off x="2306014" y="282130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Elevation</a:t>
            </a:r>
          </a:p>
        </p:txBody>
      </p:sp>
      <p:sp>
        <p:nvSpPr>
          <p:cNvPr id="7" name="Rectangle 6">
            <a:extLst>
              <a:ext uri="{FF2B5EF4-FFF2-40B4-BE49-F238E27FC236}">
                <a16:creationId xmlns:a16="http://schemas.microsoft.com/office/drawing/2014/main" id="{42710935-B651-FC59-77DA-0FCAAAFDFECA}"/>
              </a:ext>
            </a:extLst>
          </p:cNvPr>
          <p:cNvSpPr/>
          <p:nvPr/>
        </p:nvSpPr>
        <p:spPr>
          <a:xfrm>
            <a:off x="2306014" y="3550620"/>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TWC</a:t>
            </a:r>
          </a:p>
        </p:txBody>
      </p:sp>
      <p:sp>
        <p:nvSpPr>
          <p:cNvPr id="8" name="Rectangle 7">
            <a:extLst>
              <a:ext uri="{FF2B5EF4-FFF2-40B4-BE49-F238E27FC236}">
                <a16:creationId xmlns:a16="http://schemas.microsoft.com/office/drawing/2014/main" id="{A4B40D14-0A2C-A05B-A83A-19A0895929AA}"/>
              </a:ext>
            </a:extLst>
          </p:cNvPr>
          <p:cNvSpPr/>
          <p:nvPr/>
        </p:nvSpPr>
        <p:spPr>
          <a:xfrm>
            <a:off x="2306014" y="425023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Soil250</a:t>
            </a:r>
          </a:p>
        </p:txBody>
      </p:sp>
      <p:sp>
        <p:nvSpPr>
          <p:cNvPr id="10" name="Cube 9">
            <a:extLst>
              <a:ext uri="{FF2B5EF4-FFF2-40B4-BE49-F238E27FC236}">
                <a16:creationId xmlns:a16="http://schemas.microsoft.com/office/drawing/2014/main" id="{2393CE26-9104-47DD-1444-9251A959AAF8}"/>
              </a:ext>
            </a:extLst>
          </p:cNvPr>
          <p:cNvSpPr/>
          <p:nvPr/>
        </p:nvSpPr>
        <p:spPr>
          <a:xfrm>
            <a:off x="5390065" y="2773918"/>
            <a:ext cx="1476375" cy="1291113"/>
          </a:xfrm>
          <a:prstGeom prst="cub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i="1">
                <a:solidFill>
                  <a:schemeClr val="tx1"/>
                </a:solidFill>
                <a:latin typeface="Arial"/>
                <a:cs typeface="Arial"/>
              </a:rPr>
              <a:t>ML/DL Model</a:t>
            </a:r>
          </a:p>
        </p:txBody>
      </p:sp>
      <p:cxnSp>
        <p:nvCxnSpPr>
          <p:cNvPr id="12" name="Straight Arrow Connector 11">
            <a:extLst>
              <a:ext uri="{FF2B5EF4-FFF2-40B4-BE49-F238E27FC236}">
                <a16:creationId xmlns:a16="http://schemas.microsoft.com/office/drawing/2014/main" id="{3949C65D-F337-77F4-CBF2-3B5676CD78E1}"/>
              </a:ext>
            </a:extLst>
          </p:cNvPr>
          <p:cNvCxnSpPr>
            <a:cxnSpLocks/>
            <a:stCxn id="3" idx="3"/>
            <a:endCxn id="16" idx="2"/>
          </p:cNvCxnSpPr>
          <p:nvPr/>
        </p:nvCxnSpPr>
        <p:spPr>
          <a:xfrm flipV="1">
            <a:off x="3512382" y="2026087"/>
            <a:ext cx="1862138" cy="367066"/>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6" name="Rectangle: Top Corners One Rounded and One Snipped 15">
            <a:extLst>
              <a:ext uri="{FF2B5EF4-FFF2-40B4-BE49-F238E27FC236}">
                <a16:creationId xmlns:a16="http://schemas.microsoft.com/office/drawing/2014/main" id="{84F5F83C-35E6-5099-E1AF-3CD54D9B2E5D}"/>
              </a:ext>
            </a:extLst>
          </p:cNvPr>
          <p:cNvSpPr/>
          <p:nvPr/>
        </p:nvSpPr>
        <p:spPr>
          <a:xfrm>
            <a:off x="5374520" y="1740218"/>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Input Variables</a:t>
            </a:r>
          </a:p>
        </p:txBody>
      </p:sp>
      <p:sp>
        <p:nvSpPr>
          <p:cNvPr id="17" name="Rectangle: Top Corners One Rounded and One Snipped 16">
            <a:extLst>
              <a:ext uri="{FF2B5EF4-FFF2-40B4-BE49-F238E27FC236}">
                <a16:creationId xmlns:a16="http://schemas.microsoft.com/office/drawing/2014/main" id="{312523D9-B3BC-1E8B-706E-D99E9EB5EB72}"/>
              </a:ext>
            </a:extLst>
          </p:cNvPr>
          <p:cNvSpPr/>
          <p:nvPr/>
        </p:nvSpPr>
        <p:spPr>
          <a:xfrm>
            <a:off x="5374520" y="4615042"/>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Training Data</a:t>
            </a:r>
          </a:p>
        </p:txBody>
      </p:sp>
      <p:cxnSp>
        <p:nvCxnSpPr>
          <p:cNvPr id="19" name="Straight Arrow Connector 18">
            <a:extLst>
              <a:ext uri="{FF2B5EF4-FFF2-40B4-BE49-F238E27FC236}">
                <a16:creationId xmlns:a16="http://schemas.microsoft.com/office/drawing/2014/main" id="{EAEC5CB0-9F66-9866-7B24-3CB489200CF6}"/>
              </a:ext>
            </a:extLst>
          </p:cNvPr>
          <p:cNvCxnSpPr>
            <a:cxnSpLocks/>
            <a:stCxn id="6" idx="3"/>
            <a:endCxn id="16" idx="2"/>
          </p:cNvCxnSpPr>
          <p:nvPr/>
        </p:nvCxnSpPr>
        <p:spPr>
          <a:xfrm flipV="1">
            <a:off x="3512382" y="2026087"/>
            <a:ext cx="1862138" cy="1032865"/>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9CE9F37-2325-294A-135B-F0550FAECF93}"/>
              </a:ext>
            </a:extLst>
          </p:cNvPr>
          <p:cNvCxnSpPr>
            <a:cxnSpLocks/>
            <a:stCxn id="7" idx="3"/>
            <a:endCxn id="17" idx="2"/>
          </p:cNvCxnSpPr>
          <p:nvPr/>
        </p:nvCxnSpPr>
        <p:spPr>
          <a:xfrm>
            <a:off x="3512382" y="3788270"/>
            <a:ext cx="1862138" cy="1112641"/>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D846DE1-8546-CA57-885E-56A2C2534CCB}"/>
              </a:ext>
            </a:extLst>
          </p:cNvPr>
          <p:cNvCxnSpPr>
            <a:cxnSpLocks/>
            <a:stCxn id="16" idx="1"/>
          </p:cNvCxnSpPr>
          <p:nvPr/>
        </p:nvCxnSpPr>
        <p:spPr>
          <a:xfrm flipH="1">
            <a:off x="6112707" y="2311955"/>
            <a:ext cx="1" cy="60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C78C693-EAAC-EB89-E338-90AAFBB17839}"/>
              </a:ext>
            </a:extLst>
          </p:cNvPr>
          <p:cNvCxnSpPr>
            <a:cxnSpLocks/>
            <a:stCxn id="17" idx="3"/>
          </p:cNvCxnSpPr>
          <p:nvPr/>
        </p:nvCxnSpPr>
        <p:spPr>
          <a:xfrm flipH="1" flipV="1">
            <a:off x="6112707" y="4065031"/>
            <a:ext cx="1" cy="5500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4CB732F-EFAA-0062-81D8-400F002267C4}"/>
              </a:ext>
            </a:extLst>
          </p:cNvPr>
          <p:cNvCxnSpPr>
            <a:cxnSpLocks/>
            <a:stCxn id="10" idx="5"/>
            <a:endCxn id="41" idx="1"/>
          </p:cNvCxnSpPr>
          <p:nvPr/>
        </p:nvCxnSpPr>
        <p:spPr>
          <a:xfrm>
            <a:off x="6866440" y="3258085"/>
            <a:ext cx="655055" cy="5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AF888FBF-A457-95EB-8F40-9876975F7B07}"/>
              </a:ext>
            </a:extLst>
          </p:cNvPr>
          <p:cNvSpPr/>
          <p:nvPr/>
        </p:nvSpPr>
        <p:spPr>
          <a:xfrm>
            <a:off x="7521495" y="2412746"/>
            <a:ext cx="1772723" cy="1691758"/>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4km resolution </a:t>
            </a:r>
          </a:p>
          <a:p>
            <a:pPr algn="ctr"/>
            <a:r>
              <a:rPr lang="en-US">
                <a:solidFill>
                  <a:schemeClr val="tx1"/>
                </a:solidFill>
                <a:latin typeface="Arial"/>
                <a:cs typeface="Arial"/>
              </a:rPr>
              <a:t>Model interpolated daily weather datasets </a:t>
            </a:r>
          </a:p>
        </p:txBody>
      </p:sp>
      <p:cxnSp>
        <p:nvCxnSpPr>
          <p:cNvPr id="46" name="Straight Arrow Connector 45">
            <a:extLst>
              <a:ext uri="{FF2B5EF4-FFF2-40B4-BE49-F238E27FC236}">
                <a16:creationId xmlns:a16="http://schemas.microsoft.com/office/drawing/2014/main" id="{B50C30AB-5F63-C383-1BCF-41748E23BE0A}"/>
              </a:ext>
            </a:extLst>
          </p:cNvPr>
          <p:cNvCxnSpPr>
            <a:cxnSpLocks/>
            <a:stCxn id="41" idx="3"/>
            <a:endCxn id="49" idx="1"/>
          </p:cNvCxnSpPr>
          <p:nvPr/>
        </p:nvCxnSpPr>
        <p:spPr>
          <a:xfrm flipV="1">
            <a:off x="9294218" y="3258085"/>
            <a:ext cx="910364" cy="5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19C589D2-8479-4B0D-4A80-DEFC3E7C4CC5}"/>
              </a:ext>
            </a:extLst>
          </p:cNvPr>
          <p:cNvSpPr/>
          <p:nvPr/>
        </p:nvSpPr>
        <p:spPr>
          <a:xfrm>
            <a:off x="10204582" y="2806987"/>
            <a:ext cx="1466850" cy="902195"/>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ARD at </a:t>
            </a:r>
            <a:r>
              <a:rPr lang="en-US" b="1">
                <a:solidFill>
                  <a:schemeClr val="tx1"/>
                </a:solidFill>
                <a:latin typeface="Arial"/>
                <a:cs typeface="Arial"/>
              </a:rPr>
              <a:t>4km</a:t>
            </a:r>
            <a:r>
              <a:rPr lang="en-US">
                <a:solidFill>
                  <a:schemeClr val="tx1"/>
                </a:solidFill>
                <a:latin typeface="Arial"/>
                <a:cs typeface="Arial"/>
              </a:rPr>
              <a:t> Resolution</a:t>
            </a:r>
          </a:p>
        </p:txBody>
      </p:sp>
      <p:cxnSp>
        <p:nvCxnSpPr>
          <p:cNvPr id="56" name="Connector: Curved 55">
            <a:extLst>
              <a:ext uri="{FF2B5EF4-FFF2-40B4-BE49-F238E27FC236}">
                <a16:creationId xmlns:a16="http://schemas.microsoft.com/office/drawing/2014/main" id="{FE9C8553-0384-2641-7E80-E9CD677A1BB0}"/>
              </a:ext>
            </a:extLst>
          </p:cNvPr>
          <p:cNvCxnSpPr>
            <a:cxnSpLocks/>
            <a:stCxn id="8" idx="2"/>
          </p:cNvCxnSpPr>
          <p:nvPr/>
        </p:nvCxnSpPr>
        <p:spPr>
          <a:xfrm rot="5400000" flipH="1" flipV="1">
            <a:off x="5608166" y="584297"/>
            <a:ext cx="1442266" cy="6840202"/>
          </a:xfrm>
          <a:prstGeom prst="curvedConnector4">
            <a:avLst>
              <a:gd name="adj1" fmla="val -66042"/>
              <a:gd name="adj2" fmla="val 99805"/>
            </a:avLst>
          </a:prstGeom>
          <a:ln w="9525">
            <a:solidFill>
              <a:schemeClr val="tx1">
                <a:lumMod val="65000"/>
                <a:lumOff val="3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C59F5D8-CB92-52E7-C960-05BF652B3B6E}"/>
              </a:ext>
            </a:extLst>
          </p:cNvPr>
          <p:cNvCxnSpPr>
            <a:cxnSpLocks/>
            <a:stCxn id="5" idx="6"/>
          </p:cNvCxnSpPr>
          <p:nvPr/>
        </p:nvCxnSpPr>
        <p:spPr>
          <a:xfrm>
            <a:off x="1921615" y="3459400"/>
            <a:ext cx="302792" cy="8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Curved 20">
            <a:extLst>
              <a:ext uri="{FF2B5EF4-FFF2-40B4-BE49-F238E27FC236}">
                <a16:creationId xmlns:a16="http://schemas.microsoft.com/office/drawing/2014/main" id="{633E4688-564C-41FB-BC65-5056A5B90144}"/>
              </a:ext>
            </a:extLst>
          </p:cNvPr>
          <p:cNvCxnSpPr>
            <a:cxnSpLocks/>
            <a:stCxn id="6" idx="1"/>
          </p:cNvCxnSpPr>
          <p:nvPr/>
        </p:nvCxnSpPr>
        <p:spPr>
          <a:xfrm rot="10800000" flipH="1" flipV="1">
            <a:off x="2306014" y="3058951"/>
            <a:ext cx="7443386" cy="152923"/>
          </a:xfrm>
          <a:prstGeom prst="curvedConnector5">
            <a:avLst>
              <a:gd name="adj1" fmla="val -8593"/>
              <a:gd name="adj2" fmla="val -997803"/>
              <a:gd name="adj3" fmla="val 99917"/>
            </a:avLst>
          </a:prstGeom>
          <a:ln w="9525">
            <a:solidFill>
              <a:schemeClr val="tx1">
                <a:lumMod val="65000"/>
                <a:lumOff val="3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3BF66BB4-76B3-B846-B348-5E45C1721294}"/>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1</a:t>
            </a:fld>
            <a:endParaRPr lang="en-US" noProof="0">
              <a:latin typeface="Arial"/>
              <a:cs typeface="Arial"/>
            </a:endParaRPr>
          </a:p>
        </p:txBody>
      </p:sp>
      <p:sp>
        <p:nvSpPr>
          <p:cNvPr id="14" name="Rectangle 13">
            <a:extLst>
              <a:ext uri="{FF2B5EF4-FFF2-40B4-BE49-F238E27FC236}">
                <a16:creationId xmlns:a16="http://schemas.microsoft.com/office/drawing/2014/main" id="{1ECF1496-C26E-777C-A1F2-11A012EB99FF}"/>
              </a:ext>
            </a:extLst>
          </p:cNvPr>
          <p:cNvSpPr/>
          <p:nvPr/>
        </p:nvSpPr>
        <p:spPr>
          <a:xfrm>
            <a:off x="2313787" y="4248288"/>
            <a:ext cx="1206368" cy="475299"/>
          </a:xfrm>
          <a:prstGeom prst="rect">
            <a:avLst/>
          </a:prstGeom>
          <a:solidFill>
            <a:schemeClr val="accent2">
              <a:lumMod val="20000"/>
              <a:lumOff val="80000"/>
            </a:schemeClr>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Soil250</a:t>
            </a:r>
          </a:p>
        </p:txBody>
      </p:sp>
      <p:sp>
        <p:nvSpPr>
          <p:cNvPr id="15" name="Rectangle 14">
            <a:extLst>
              <a:ext uri="{FF2B5EF4-FFF2-40B4-BE49-F238E27FC236}">
                <a16:creationId xmlns:a16="http://schemas.microsoft.com/office/drawing/2014/main" id="{9E0E1CDE-6703-FD9D-1A66-476619E1C835}"/>
              </a:ext>
            </a:extLst>
          </p:cNvPr>
          <p:cNvSpPr/>
          <p:nvPr/>
        </p:nvSpPr>
        <p:spPr>
          <a:xfrm>
            <a:off x="2306013" y="2821302"/>
            <a:ext cx="1206368" cy="475299"/>
          </a:xfrm>
          <a:prstGeom prst="rect">
            <a:avLst/>
          </a:prstGeom>
          <a:solidFill>
            <a:schemeClr val="accent2">
              <a:lumMod val="20000"/>
              <a:lumOff val="80000"/>
            </a:schemeClr>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Arial"/>
                <a:cs typeface="Arial"/>
              </a:rPr>
              <a:t>Elevation</a:t>
            </a:r>
          </a:p>
        </p:txBody>
      </p:sp>
      <p:sp>
        <p:nvSpPr>
          <p:cNvPr id="18" name="TextBox 17">
            <a:extLst>
              <a:ext uri="{FF2B5EF4-FFF2-40B4-BE49-F238E27FC236}">
                <a16:creationId xmlns:a16="http://schemas.microsoft.com/office/drawing/2014/main" id="{2EC65C43-8A7C-E56C-A017-801E1D3F8056}"/>
              </a:ext>
            </a:extLst>
          </p:cNvPr>
          <p:cNvSpPr txBox="1"/>
          <p:nvPr/>
        </p:nvSpPr>
        <p:spPr>
          <a:xfrm>
            <a:off x="428625" y="6126699"/>
            <a:ext cx="10509382" cy="369332"/>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pPr>
            <a:r>
              <a:rPr lang="en-US">
                <a:latin typeface="Arial"/>
                <a:cs typeface="Arial"/>
              </a:rPr>
              <a:t>4km resolution as the target resolution based of TWC’s spatial resolution. </a:t>
            </a:r>
          </a:p>
        </p:txBody>
      </p:sp>
    </p:spTree>
    <p:extLst>
      <p:ext uri="{BB962C8B-B14F-4D97-AF65-F5344CB8AC3E}">
        <p14:creationId xmlns:p14="http://schemas.microsoft.com/office/powerpoint/2010/main" val="304541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par>
                                <p:cTn id="15" presetID="10"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nodeType="click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barn(inVertical)">
                                      <p:cBhvr>
                                        <p:cTn id="28" dur="500"/>
                                        <p:tgtEl>
                                          <p:spTgt spid="26"/>
                                        </p:tgtEl>
                                      </p:cBhvr>
                                    </p:animEffect>
                                  </p:childTnLst>
                                </p:cTn>
                              </p:par>
                              <p:par>
                                <p:cTn id="29" presetID="16" presetClass="entr" presetSubtype="21"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barn(inVertical)">
                                      <p:cBhvr>
                                        <p:cTn id="31" dur="500"/>
                                        <p:tgtEl>
                                          <p:spTgt spid="27"/>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barn(inVertical)">
                                      <p:cBhvr>
                                        <p:cTn id="34" dur="500"/>
                                        <p:tgtEl>
                                          <p:spTgt spid="10"/>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anim calcmode="lin" valueType="num">
                                      <p:cBhvr>
                                        <p:cTn id="37" dur="500" fill="hold"/>
                                        <p:tgtEl>
                                          <p:spTgt spid="41"/>
                                        </p:tgtEl>
                                        <p:attrNameLst>
                                          <p:attrName>ppt_w</p:attrName>
                                        </p:attrNameLst>
                                      </p:cBhvr>
                                      <p:tavLst>
                                        <p:tav tm="0">
                                          <p:val>
                                            <p:fltVal val="0"/>
                                          </p:val>
                                        </p:tav>
                                        <p:tav tm="100000">
                                          <p:val>
                                            <p:strVal val="#ppt_w"/>
                                          </p:val>
                                        </p:tav>
                                      </p:tavLst>
                                    </p:anim>
                                    <p:anim calcmode="lin" valueType="num">
                                      <p:cBhvr>
                                        <p:cTn id="38" dur="500" fill="hold"/>
                                        <p:tgtEl>
                                          <p:spTgt spid="41"/>
                                        </p:tgtEl>
                                        <p:attrNameLst>
                                          <p:attrName>ppt_h</p:attrName>
                                        </p:attrNameLst>
                                      </p:cBhvr>
                                      <p:tavLst>
                                        <p:tav tm="0">
                                          <p:val>
                                            <p:fltVal val="0"/>
                                          </p:val>
                                        </p:tav>
                                        <p:tav tm="100000">
                                          <p:val>
                                            <p:strVal val="#ppt_h"/>
                                          </p:val>
                                        </p:tav>
                                      </p:tavLst>
                                    </p:anim>
                                    <p:animEffect transition="in" filter="fade">
                                      <p:cBhvr>
                                        <p:cTn id="39" dur="500"/>
                                        <p:tgtEl>
                                          <p:spTgt spid="41"/>
                                        </p:tgtEl>
                                      </p:cBhvr>
                                    </p:animEffect>
                                  </p:childTnLst>
                                </p:cTn>
                              </p:par>
                              <p:par>
                                <p:cTn id="40" presetID="53" presetClass="entr" presetSubtype="16" fill="hold" nodeType="withEffect">
                                  <p:stCondLst>
                                    <p:cond delay="0"/>
                                  </p:stCondLst>
                                  <p:childTnLst>
                                    <p:set>
                                      <p:cBhvr>
                                        <p:cTn id="41" dur="1" fill="hold">
                                          <p:stCondLst>
                                            <p:cond delay="0"/>
                                          </p:stCondLst>
                                        </p:cTn>
                                        <p:tgtEl>
                                          <p:spTgt spid="38"/>
                                        </p:tgtEl>
                                        <p:attrNameLst>
                                          <p:attrName>style.visibility</p:attrName>
                                        </p:attrNameLst>
                                      </p:cBhvr>
                                      <p:to>
                                        <p:strVal val="visible"/>
                                      </p:to>
                                    </p:set>
                                    <p:anim calcmode="lin" valueType="num">
                                      <p:cBhvr>
                                        <p:cTn id="42" dur="500" fill="hold"/>
                                        <p:tgtEl>
                                          <p:spTgt spid="38"/>
                                        </p:tgtEl>
                                        <p:attrNameLst>
                                          <p:attrName>ppt_w</p:attrName>
                                        </p:attrNameLst>
                                      </p:cBhvr>
                                      <p:tavLst>
                                        <p:tav tm="0">
                                          <p:val>
                                            <p:fltVal val="0"/>
                                          </p:val>
                                        </p:tav>
                                        <p:tav tm="100000">
                                          <p:val>
                                            <p:strVal val="#ppt_w"/>
                                          </p:val>
                                        </p:tav>
                                      </p:tavLst>
                                    </p:anim>
                                    <p:anim calcmode="lin" valueType="num">
                                      <p:cBhvr>
                                        <p:cTn id="43" dur="500" fill="hold"/>
                                        <p:tgtEl>
                                          <p:spTgt spid="38"/>
                                        </p:tgtEl>
                                        <p:attrNameLst>
                                          <p:attrName>ppt_h</p:attrName>
                                        </p:attrNameLst>
                                      </p:cBhvr>
                                      <p:tavLst>
                                        <p:tav tm="0">
                                          <p:val>
                                            <p:fltVal val="0"/>
                                          </p:val>
                                        </p:tav>
                                        <p:tav tm="100000">
                                          <p:val>
                                            <p:strVal val="#ppt_h"/>
                                          </p:val>
                                        </p:tav>
                                      </p:tavLst>
                                    </p:anim>
                                    <p:animEffect transition="in" filter="fade">
                                      <p:cBhvr>
                                        <p:cTn id="44" dur="500"/>
                                        <p:tgtEl>
                                          <p:spTgt spid="38"/>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 calcmode="lin" valueType="num">
                                      <p:cBhvr>
                                        <p:cTn id="49" dur="500" fill="hold"/>
                                        <p:tgtEl>
                                          <p:spTgt spid="46"/>
                                        </p:tgtEl>
                                        <p:attrNameLst>
                                          <p:attrName>ppt_w</p:attrName>
                                        </p:attrNameLst>
                                      </p:cBhvr>
                                      <p:tavLst>
                                        <p:tav tm="0">
                                          <p:val>
                                            <p:fltVal val="0"/>
                                          </p:val>
                                        </p:tav>
                                        <p:tav tm="100000">
                                          <p:val>
                                            <p:strVal val="#ppt_w"/>
                                          </p:val>
                                        </p:tav>
                                      </p:tavLst>
                                    </p:anim>
                                    <p:anim calcmode="lin" valueType="num">
                                      <p:cBhvr>
                                        <p:cTn id="50" dur="500" fill="hold"/>
                                        <p:tgtEl>
                                          <p:spTgt spid="46"/>
                                        </p:tgtEl>
                                        <p:attrNameLst>
                                          <p:attrName>ppt_h</p:attrName>
                                        </p:attrNameLst>
                                      </p:cBhvr>
                                      <p:tavLst>
                                        <p:tav tm="0">
                                          <p:val>
                                            <p:fltVal val="0"/>
                                          </p:val>
                                        </p:tav>
                                        <p:tav tm="100000">
                                          <p:val>
                                            <p:strVal val="#ppt_h"/>
                                          </p:val>
                                        </p:tav>
                                      </p:tavLst>
                                    </p:anim>
                                    <p:animEffect transition="in" filter="fade">
                                      <p:cBhvr>
                                        <p:cTn id="51" dur="500"/>
                                        <p:tgtEl>
                                          <p:spTgt spid="46"/>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49"/>
                                        </p:tgtEl>
                                        <p:attrNameLst>
                                          <p:attrName>style.visibility</p:attrName>
                                        </p:attrNameLst>
                                      </p:cBhvr>
                                      <p:to>
                                        <p:strVal val="visible"/>
                                      </p:to>
                                    </p:set>
                                    <p:anim calcmode="lin" valueType="num">
                                      <p:cBhvr>
                                        <p:cTn id="54" dur="500" fill="hold"/>
                                        <p:tgtEl>
                                          <p:spTgt spid="49"/>
                                        </p:tgtEl>
                                        <p:attrNameLst>
                                          <p:attrName>ppt_w</p:attrName>
                                        </p:attrNameLst>
                                      </p:cBhvr>
                                      <p:tavLst>
                                        <p:tav tm="0">
                                          <p:val>
                                            <p:fltVal val="0"/>
                                          </p:val>
                                        </p:tav>
                                        <p:tav tm="100000">
                                          <p:val>
                                            <p:strVal val="#ppt_w"/>
                                          </p:val>
                                        </p:tav>
                                      </p:tavLst>
                                    </p:anim>
                                    <p:anim calcmode="lin" valueType="num">
                                      <p:cBhvr>
                                        <p:cTn id="55" dur="500" fill="hold"/>
                                        <p:tgtEl>
                                          <p:spTgt spid="49"/>
                                        </p:tgtEl>
                                        <p:attrNameLst>
                                          <p:attrName>ppt_h</p:attrName>
                                        </p:attrNameLst>
                                      </p:cBhvr>
                                      <p:tavLst>
                                        <p:tav tm="0">
                                          <p:val>
                                            <p:fltVal val="0"/>
                                          </p:val>
                                        </p:tav>
                                        <p:tav tm="100000">
                                          <p:val>
                                            <p:strVal val="#ppt_h"/>
                                          </p:val>
                                        </p:tav>
                                      </p:tavLst>
                                    </p:anim>
                                    <p:animEffect transition="in" filter="fade">
                                      <p:cBhvr>
                                        <p:cTn id="56" dur="500"/>
                                        <p:tgtEl>
                                          <p:spTgt spid="49"/>
                                        </p:tgtEl>
                                      </p:cBhvr>
                                    </p:animEffect>
                                  </p:childTnLst>
                                </p:cTn>
                              </p:par>
                              <p:par>
                                <p:cTn id="57" presetID="53" presetClass="entr" presetSubtype="16" fill="hold" nodeType="with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Effect transition="in" filter="fade">
                                      <p:cBhvr>
                                        <p:cTn id="61" dur="500"/>
                                        <p:tgtEl>
                                          <p:spTgt spid="21"/>
                                        </p:tgtEl>
                                      </p:cBhvr>
                                    </p:animEffect>
                                  </p:childTnLst>
                                </p:cTn>
                              </p:par>
                              <p:par>
                                <p:cTn id="62" presetID="53" presetClass="entr" presetSubtype="16" fill="hold" nodeType="with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p:cTn id="64" dur="500" fill="hold"/>
                                        <p:tgtEl>
                                          <p:spTgt spid="56"/>
                                        </p:tgtEl>
                                        <p:attrNameLst>
                                          <p:attrName>ppt_w</p:attrName>
                                        </p:attrNameLst>
                                      </p:cBhvr>
                                      <p:tavLst>
                                        <p:tav tm="0">
                                          <p:val>
                                            <p:fltVal val="0"/>
                                          </p:val>
                                        </p:tav>
                                        <p:tav tm="100000">
                                          <p:val>
                                            <p:strVal val="#ppt_w"/>
                                          </p:val>
                                        </p:tav>
                                      </p:tavLst>
                                    </p:anim>
                                    <p:anim calcmode="lin" valueType="num">
                                      <p:cBhvr>
                                        <p:cTn id="65" dur="500" fill="hold"/>
                                        <p:tgtEl>
                                          <p:spTgt spid="56"/>
                                        </p:tgtEl>
                                        <p:attrNameLst>
                                          <p:attrName>ppt_h</p:attrName>
                                        </p:attrNameLst>
                                      </p:cBhvr>
                                      <p:tavLst>
                                        <p:tav tm="0">
                                          <p:val>
                                            <p:fltVal val="0"/>
                                          </p:val>
                                        </p:tav>
                                        <p:tav tm="100000">
                                          <p:val>
                                            <p:strVal val="#ppt_h"/>
                                          </p:val>
                                        </p:tav>
                                      </p:tavLst>
                                    </p:anim>
                                    <p:animEffect transition="in" filter="fade">
                                      <p:cBhvr>
                                        <p:cTn id="66"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6" grpId="0" animBg="1"/>
      <p:bldP spid="17" grpId="0" animBg="1"/>
      <p:bldP spid="41" grpId="0" animBg="1"/>
      <p:bldP spid="4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964791" y="282631"/>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100m resolution Framework </a:t>
            </a:r>
          </a:p>
        </p:txBody>
      </p:sp>
      <p:sp>
        <p:nvSpPr>
          <p:cNvPr id="2" name="Rectangle: Rounded Corners 1">
            <a:extLst>
              <a:ext uri="{FF2B5EF4-FFF2-40B4-BE49-F238E27FC236}">
                <a16:creationId xmlns:a16="http://schemas.microsoft.com/office/drawing/2014/main" id="{D423FFAF-9CDC-ACC2-E90E-850A37957BAA}"/>
              </a:ext>
            </a:extLst>
          </p:cNvPr>
          <p:cNvSpPr/>
          <p:nvPr/>
        </p:nvSpPr>
        <p:spPr>
          <a:xfrm rot="16200000">
            <a:off x="2233057" y="2900285"/>
            <a:ext cx="4469944" cy="1206370"/>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i="1">
                <a:solidFill>
                  <a:schemeClr val="tx1"/>
                </a:solidFill>
                <a:latin typeface="Arial"/>
                <a:cs typeface="Arial"/>
              </a:rPr>
              <a:t>Data Resampling to </a:t>
            </a:r>
          </a:p>
          <a:p>
            <a:pPr algn="ctr"/>
            <a:r>
              <a:rPr lang="en-US" b="1" i="1">
                <a:solidFill>
                  <a:schemeClr val="tx1"/>
                </a:solidFill>
                <a:latin typeface="Arial"/>
                <a:cs typeface="Arial"/>
              </a:rPr>
              <a:t>4km Resolution</a:t>
            </a:r>
          </a:p>
        </p:txBody>
      </p:sp>
      <p:sp>
        <p:nvSpPr>
          <p:cNvPr id="3" name="Rectangle 2">
            <a:extLst>
              <a:ext uri="{FF2B5EF4-FFF2-40B4-BE49-F238E27FC236}">
                <a16:creationId xmlns:a16="http://schemas.microsoft.com/office/drawing/2014/main" id="{BBE374DC-2B4D-CC21-509C-1EE76C7459BF}"/>
              </a:ext>
            </a:extLst>
          </p:cNvPr>
          <p:cNvSpPr/>
          <p:nvPr/>
        </p:nvSpPr>
        <p:spPr>
          <a:xfrm>
            <a:off x="2265532" y="2022153"/>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ERA5</a:t>
            </a:r>
          </a:p>
        </p:txBody>
      </p:sp>
      <p:sp>
        <p:nvSpPr>
          <p:cNvPr id="6" name="Rectangle 5">
            <a:extLst>
              <a:ext uri="{FF2B5EF4-FFF2-40B4-BE49-F238E27FC236}">
                <a16:creationId xmlns:a16="http://schemas.microsoft.com/office/drawing/2014/main" id="{D027ECB3-9E9A-490C-3B18-F9FAFF0F379D}"/>
              </a:ext>
            </a:extLst>
          </p:cNvPr>
          <p:cNvSpPr/>
          <p:nvPr/>
        </p:nvSpPr>
        <p:spPr>
          <a:xfrm>
            <a:off x="2265532" y="268795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Elevation</a:t>
            </a:r>
          </a:p>
        </p:txBody>
      </p:sp>
      <p:sp>
        <p:nvSpPr>
          <p:cNvPr id="7" name="Rectangle 6">
            <a:extLst>
              <a:ext uri="{FF2B5EF4-FFF2-40B4-BE49-F238E27FC236}">
                <a16:creationId xmlns:a16="http://schemas.microsoft.com/office/drawing/2014/main" id="{42710935-B651-FC59-77DA-0FCAAAFDFECA}"/>
              </a:ext>
            </a:extLst>
          </p:cNvPr>
          <p:cNvSpPr/>
          <p:nvPr/>
        </p:nvSpPr>
        <p:spPr>
          <a:xfrm>
            <a:off x="2265532" y="3417270"/>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TWC</a:t>
            </a:r>
          </a:p>
        </p:txBody>
      </p:sp>
      <p:sp>
        <p:nvSpPr>
          <p:cNvPr id="8" name="Rectangle 7">
            <a:extLst>
              <a:ext uri="{FF2B5EF4-FFF2-40B4-BE49-F238E27FC236}">
                <a16:creationId xmlns:a16="http://schemas.microsoft.com/office/drawing/2014/main" id="{A4B40D14-0A2C-A05B-A83A-19A0895929AA}"/>
              </a:ext>
            </a:extLst>
          </p:cNvPr>
          <p:cNvSpPr/>
          <p:nvPr/>
        </p:nvSpPr>
        <p:spPr>
          <a:xfrm>
            <a:off x="2265532" y="411688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Soil250</a:t>
            </a:r>
          </a:p>
        </p:txBody>
      </p:sp>
      <p:sp>
        <p:nvSpPr>
          <p:cNvPr id="10" name="Cube 9">
            <a:extLst>
              <a:ext uri="{FF2B5EF4-FFF2-40B4-BE49-F238E27FC236}">
                <a16:creationId xmlns:a16="http://schemas.microsoft.com/office/drawing/2014/main" id="{2393CE26-9104-47DD-1444-9251A959AAF8}"/>
              </a:ext>
            </a:extLst>
          </p:cNvPr>
          <p:cNvSpPr/>
          <p:nvPr/>
        </p:nvSpPr>
        <p:spPr>
          <a:xfrm>
            <a:off x="5349583" y="2640568"/>
            <a:ext cx="1476375" cy="1291113"/>
          </a:xfrm>
          <a:prstGeom prst="cub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i="1">
                <a:solidFill>
                  <a:schemeClr val="tx1"/>
                </a:solidFill>
                <a:latin typeface="Arial"/>
                <a:cs typeface="Arial"/>
              </a:rPr>
              <a:t>ML/DL Model</a:t>
            </a:r>
          </a:p>
        </p:txBody>
      </p:sp>
      <p:cxnSp>
        <p:nvCxnSpPr>
          <p:cNvPr id="12" name="Straight Arrow Connector 11">
            <a:extLst>
              <a:ext uri="{FF2B5EF4-FFF2-40B4-BE49-F238E27FC236}">
                <a16:creationId xmlns:a16="http://schemas.microsoft.com/office/drawing/2014/main" id="{3949C65D-F337-77F4-CBF2-3B5676CD78E1}"/>
              </a:ext>
            </a:extLst>
          </p:cNvPr>
          <p:cNvCxnSpPr>
            <a:cxnSpLocks/>
            <a:stCxn id="3" idx="3"/>
            <a:endCxn id="16" idx="2"/>
          </p:cNvCxnSpPr>
          <p:nvPr/>
        </p:nvCxnSpPr>
        <p:spPr>
          <a:xfrm flipV="1">
            <a:off x="3471900" y="1892737"/>
            <a:ext cx="1862138" cy="367066"/>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6" name="Rectangle: Top Corners One Rounded and One Snipped 15">
            <a:extLst>
              <a:ext uri="{FF2B5EF4-FFF2-40B4-BE49-F238E27FC236}">
                <a16:creationId xmlns:a16="http://schemas.microsoft.com/office/drawing/2014/main" id="{84F5F83C-35E6-5099-E1AF-3CD54D9B2E5D}"/>
              </a:ext>
            </a:extLst>
          </p:cNvPr>
          <p:cNvSpPr/>
          <p:nvPr/>
        </p:nvSpPr>
        <p:spPr>
          <a:xfrm>
            <a:off x="5334038" y="1606868"/>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Input Variables</a:t>
            </a:r>
          </a:p>
        </p:txBody>
      </p:sp>
      <p:sp>
        <p:nvSpPr>
          <p:cNvPr id="17" name="Rectangle: Top Corners One Rounded and One Snipped 16">
            <a:extLst>
              <a:ext uri="{FF2B5EF4-FFF2-40B4-BE49-F238E27FC236}">
                <a16:creationId xmlns:a16="http://schemas.microsoft.com/office/drawing/2014/main" id="{312523D9-B3BC-1E8B-706E-D99E9EB5EB72}"/>
              </a:ext>
            </a:extLst>
          </p:cNvPr>
          <p:cNvSpPr/>
          <p:nvPr/>
        </p:nvSpPr>
        <p:spPr>
          <a:xfrm>
            <a:off x="5334038" y="4481692"/>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Training Data</a:t>
            </a:r>
          </a:p>
        </p:txBody>
      </p:sp>
      <p:cxnSp>
        <p:nvCxnSpPr>
          <p:cNvPr id="19" name="Straight Arrow Connector 18">
            <a:extLst>
              <a:ext uri="{FF2B5EF4-FFF2-40B4-BE49-F238E27FC236}">
                <a16:creationId xmlns:a16="http://schemas.microsoft.com/office/drawing/2014/main" id="{EAEC5CB0-9F66-9866-7B24-3CB489200CF6}"/>
              </a:ext>
            </a:extLst>
          </p:cNvPr>
          <p:cNvCxnSpPr>
            <a:cxnSpLocks/>
            <a:stCxn id="6" idx="3"/>
            <a:endCxn id="16" idx="2"/>
          </p:cNvCxnSpPr>
          <p:nvPr/>
        </p:nvCxnSpPr>
        <p:spPr>
          <a:xfrm flipV="1">
            <a:off x="3471900" y="1892737"/>
            <a:ext cx="1862138" cy="1032865"/>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9CE9F37-2325-294A-135B-F0550FAECF93}"/>
              </a:ext>
            </a:extLst>
          </p:cNvPr>
          <p:cNvCxnSpPr>
            <a:cxnSpLocks/>
            <a:stCxn id="7" idx="3"/>
            <a:endCxn id="17" idx="2"/>
          </p:cNvCxnSpPr>
          <p:nvPr/>
        </p:nvCxnSpPr>
        <p:spPr>
          <a:xfrm>
            <a:off x="3471900" y="3654920"/>
            <a:ext cx="1862138" cy="1112641"/>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D846DE1-8546-CA57-885E-56A2C2534CCB}"/>
              </a:ext>
            </a:extLst>
          </p:cNvPr>
          <p:cNvCxnSpPr>
            <a:cxnSpLocks/>
            <a:stCxn id="16" idx="1"/>
          </p:cNvCxnSpPr>
          <p:nvPr/>
        </p:nvCxnSpPr>
        <p:spPr>
          <a:xfrm flipH="1">
            <a:off x="6072225" y="2178605"/>
            <a:ext cx="1" cy="60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C78C693-EAAC-EB89-E338-90AAFBB17839}"/>
              </a:ext>
            </a:extLst>
          </p:cNvPr>
          <p:cNvCxnSpPr>
            <a:cxnSpLocks/>
            <a:stCxn id="17" idx="3"/>
          </p:cNvCxnSpPr>
          <p:nvPr/>
        </p:nvCxnSpPr>
        <p:spPr>
          <a:xfrm flipV="1">
            <a:off x="6072226" y="3891439"/>
            <a:ext cx="0" cy="5902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4CB732F-EFAA-0062-81D8-400F002267C4}"/>
              </a:ext>
            </a:extLst>
          </p:cNvPr>
          <p:cNvCxnSpPr>
            <a:cxnSpLocks/>
            <a:stCxn id="10" idx="5"/>
            <a:endCxn id="41" idx="1"/>
          </p:cNvCxnSpPr>
          <p:nvPr/>
        </p:nvCxnSpPr>
        <p:spPr>
          <a:xfrm>
            <a:off x="6825958" y="3124735"/>
            <a:ext cx="655055" cy="5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AF888FBF-A457-95EB-8F40-9876975F7B07}"/>
              </a:ext>
            </a:extLst>
          </p:cNvPr>
          <p:cNvSpPr/>
          <p:nvPr/>
        </p:nvSpPr>
        <p:spPr>
          <a:xfrm>
            <a:off x="7481013" y="2279396"/>
            <a:ext cx="1772723" cy="1691758"/>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4km resolution </a:t>
            </a:r>
          </a:p>
          <a:p>
            <a:pPr algn="ctr"/>
            <a:r>
              <a:rPr lang="en-US" i="1">
                <a:solidFill>
                  <a:schemeClr val="tx1"/>
                </a:solidFill>
                <a:latin typeface="Arial"/>
                <a:cs typeface="Arial"/>
              </a:rPr>
              <a:t>Model interpolated daily weather datasets </a:t>
            </a:r>
          </a:p>
        </p:txBody>
      </p:sp>
      <p:cxnSp>
        <p:nvCxnSpPr>
          <p:cNvPr id="46" name="Straight Arrow Connector 45">
            <a:extLst>
              <a:ext uri="{FF2B5EF4-FFF2-40B4-BE49-F238E27FC236}">
                <a16:creationId xmlns:a16="http://schemas.microsoft.com/office/drawing/2014/main" id="{B50C30AB-5F63-C383-1BCF-41748E23BE0A}"/>
              </a:ext>
            </a:extLst>
          </p:cNvPr>
          <p:cNvCxnSpPr>
            <a:cxnSpLocks/>
            <a:stCxn id="41" idx="3"/>
          </p:cNvCxnSpPr>
          <p:nvPr/>
        </p:nvCxnSpPr>
        <p:spPr>
          <a:xfrm flipV="1">
            <a:off x="9253736" y="3124735"/>
            <a:ext cx="910364" cy="540"/>
          </a:xfrm>
          <a:prstGeom prst="straightConnector1">
            <a:avLst/>
          </a:prstGeom>
          <a:ln w="12700">
            <a:solidFill>
              <a:srgbClr val="00B0F0"/>
            </a:solidFill>
            <a:prstDash val="lgDash"/>
            <a:tailEnd type="triangle"/>
          </a:ln>
        </p:spPr>
        <p:style>
          <a:lnRef idx="1">
            <a:schemeClr val="dk1"/>
          </a:lnRef>
          <a:fillRef idx="0">
            <a:schemeClr val="dk1"/>
          </a:fillRef>
          <a:effectRef idx="0">
            <a:schemeClr val="dk1"/>
          </a:effectRef>
          <a:fontRef idx="minor">
            <a:schemeClr val="tx1"/>
          </a:fontRef>
        </p:style>
      </p:cxnSp>
      <p:sp>
        <p:nvSpPr>
          <p:cNvPr id="49" name="Rectangle: Rounded Corners 48">
            <a:extLst>
              <a:ext uri="{FF2B5EF4-FFF2-40B4-BE49-F238E27FC236}">
                <a16:creationId xmlns:a16="http://schemas.microsoft.com/office/drawing/2014/main" id="{19C589D2-8479-4B0D-4A80-DEFC3E7C4CC5}"/>
              </a:ext>
            </a:extLst>
          </p:cNvPr>
          <p:cNvSpPr/>
          <p:nvPr/>
        </p:nvSpPr>
        <p:spPr>
          <a:xfrm rot="16200000">
            <a:off x="9562451" y="2417366"/>
            <a:ext cx="2559530" cy="1278850"/>
          </a:xfrm>
          <a:prstGeom prst="round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i="1">
                <a:solidFill>
                  <a:schemeClr val="tx1"/>
                </a:solidFill>
                <a:latin typeface="Arial"/>
                <a:cs typeface="Arial"/>
              </a:rPr>
              <a:t>Resample to 100m resolution</a:t>
            </a:r>
          </a:p>
        </p:txBody>
      </p:sp>
      <p:cxnSp>
        <p:nvCxnSpPr>
          <p:cNvPr id="56" name="Connector: Curved 55">
            <a:extLst>
              <a:ext uri="{FF2B5EF4-FFF2-40B4-BE49-F238E27FC236}">
                <a16:creationId xmlns:a16="http://schemas.microsoft.com/office/drawing/2014/main" id="{FE9C8553-0384-2641-7E80-E9CD677A1BB0}"/>
              </a:ext>
            </a:extLst>
          </p:cNvPr>
          <p:cNvCxnSpPr>
            <a:cxnSpLocks/>
            <a:stCxn id="8" idx="1"/>
          </p:cNvCxnSpPr>
          <p:nvPr/>
        </p:nvCxnSpPr>
        <p:spPr>
          <a:xfrm rot="10800000" flipH="1">
            <a:off x="2265531" y="4208804"/>
            <a:ext cx="7937255" cy="145728"/>
          </a:xfrm>
          <a:prstGeom prst="curvedConnector5">
            <a:avLst>
              <a:gd name="adj1" fmla="val -15240"/>
              <a:gd name="adj2" fmla="val -1189907"/>
              <a:gd name="adj3" fmla="val 87360"/>
            </a:avLst>
          </a:prstGeom>
          <a:ln w="9525">
            <a:solidFill>
              <a:srgbClr val="00B0F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1" name="Connector: Curved 10">
            <a:extLst>
              <a:ext uri="{FF2B5EF4-FFF2-40B4-BE49-F238E27FC236}">
                <a16:creationId xmlns:a16="http://schemas.microsoft.com/office/drawing/2014/main" id="{0D18F2EC-EA7D-193C-08EE-A31406043253}"/>
              </a:ext>
            </a:extLst>
          </p:cNvPr>
          <p:cNvCxnSpPr>
            <a:cxnSpLocks/>
            <a:stCxn id="6" idx="1"/>
            <a:endCxn id="49" idx="3"/>
          </p:cNvCxnSpPr>
          <p:nvPr/>
        </p:nvCxnSpPr>
        <p:spPr>
          <a:xfrm rot="10800000" flipH="1">
            <a:off x="2265532" y="1777026"/>
            <a:ext cx="8576684" cy="1148576"/>
          </a:xfrm>
          <a:prstGeom prst="curvedConnector4">
            <a:avLst>
              <a:gd name="adj1" fmla="val -2665"/>
              <a:gd name="adj2" fmla="val 163666"/>
            </a:avLst>
          </a:prstGeom>
          <a:ln w="9525">
            <a:solidFill>
              <a:srgbClr val="00B0F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8CD0F935-01B0-9D95-506D-764C60647B30}"/>
              </a:ext>
            </a:extLst>
          </p:cNvPr>
          <p:cNvSpPr/>
          <p:nvPr/>
        </p:nvSpPr>
        <p:spPr>
          <a:xfrm>
            <a:off x="2241066" y="4938120"/>
            <a:ext cx="1230834" cy="593249"/>
          </a:xfrm>
          <a:prstGeom prst="rect">
            <a:avLst/>
          </a:prstGeom>
          <a:solidFill>
            <a:schemeClr val="bg1"/>
          </a:solidFill>
          <a:ln>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Satellite LST</a:t>
            </a:r>
          </a:p>
        </p:txBody>
      </p:sp>
      <p:cxnSp>
        <p:nvCxnSpPr>
          <p:cNvPr id="35" name="Connector: Curved 34">
            <a:extLst>
              <a:ext uri="{FF2B5EF4-FFF2-40B4-BE49-F238E27FC236}">
                <a16:creationId xmlns:a16="http://schemas.microsoft.com/office/drawing/2014/main" id="{8E245135-CCF3-79B5-77FB-7A3A1A6DC4BD}"/>
              </a:ext>
            </a:extLst>
          </p:cNvPr>
          <p:cNvCxnSpPr>
            <a:cxnSpLocks/>
            <a:stCxn id="29" idx="2"/>
          </p:cNvCxnSpPr>
          <p:nvPr/>
        </p:nvCxnSpPr>
        <p:spPr>
          <a:xfrm rot="5400000" flipH="1" flipV="1">
            <a:off x="5715357" y="1082625"/>
            <a:ext cx="1589869" cy="7307619"/>
          </a:xfrm>
          <a:prstGeom prst="curvedConnector4">
            <a:avLst>
              <a:gd name="adj1" fmla="val -24564"/>
              <a:gd name="adj2" fmla="val 80801"/>
            </a:avLst>
          </a:prstGeom>
          <a:ln w="9525">
            <a:solidFill>
              <a:srgbClr val="00B0F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7E3A8081-2E8A-BDF2-6E2D-38657E14DCA2}"/>
              </a:ext>
            </a:extLst>
          </p:cNvPr>
          <p:cNvCxnSpPr>
            <a:cxnSpLocks/>
            <a:stCxn id="49" idx="1"/>
          </p:cNvCxnSpPr>
          <p:nvPr/>
        </p:nvCxnSpPr>
        <p:spPr>
          <a:xfrm>
            <a:off x="10842216" y="4336556"/>
            <a:ext cx="0" cy="7168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FD8AE705-62F3-6720-69B6-2F00BA9FD743}"/>
              </a:ext>
            </a:extLst>
          </p:cNvPr>
          <p:cNvSpPr/>
          <p:nvPr/>
        </p:nvSpPr>
        <p:spPr>
          <a:xfrm>
            <a:off x="10108791" y="5129203"/>
            <a:ext cx="1466850" cy="902195"/>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i="1">
                <a:solidFill>
                  <a:schemeClr val="tx1"/>
                </a:solidFill>
                <a:latin typeface="Arial"/>
                <a:cs typeface="Arial"/>
              </a:rPr>
              <a:t>ARD at </a:t>
            </a:r>
            <a:r>
              <a:rPr lang="en-US" b="1" i="1">
                <a:solidFill>
                  <a:schemeClr val="tx1"/>
                </a:solidFill>
                <a:latin typeface="Arial"/>
                <a:cs typeface="Arial"/>
              </a:rPr>
              <a:t>100m </a:t>
            </a:r>
            <a:r>
              <a:rPr lang="en-US" i="1">
                <a:solidFill>
                  <a:schemeClr val="tx1"/>
                </a:solidFill>
                <a:latin typeface="Arial"/>
                <a:cs typeface="Arial"/>
              </a:rPr>
              <a:t>Resolution</a:t>
            </a:r>
          </a:p>
        </p:txBody>
      </p:sp>
      <p:sp>
        <p:nvSpPr>
          <p:cNvPr id="4" name="Slide Number Placeholder 3">
            <a:extLst>
              <a:ext uri="{FF2B5EF4-FFF2-40B4-BE49-F238E27FC236}">
                <a16:creationId xmlns:a16="http://schemas.microsoft.com/office/drawing/2014/main" id="{D043F8F3-BE8A-7F42-F82A-E7E5540DE677}"/>
              </a:ext>
            </a:extLst>
          </p:cNvPr>
          <p:cNvSpPr>
            <a:spLocks noGrp="1"/>
          </p:cNvSpPr>
          <p:nvPr>
            <p:ph type="sldNum" sz="quarter" idx="12"/>
          </p:nvPr>
        </p:nvSpPr>
        <p:spPr/>
        <p:txBody>
          <a:bodyPr/>
          <a:lstStyle/>
          <a:p>
            <a:fld id="{EEAD9179-7A6B-4268-BEB2-F3B8EB06115B}" type="slidenum">
              <a:rPr lang="en-US" i="1" noProof="0" dirty="0" smtClean="0">
                <a:latin typeface="Arial"/>
                <a:cs typeface="Arial"/>
              </a:rPr>
              <a:t>12</a:t>
            </a:fld>
            <a:endParaRPr lang="en-US" i="1" noProof="0">
              <a:latin typeface="Arial"/>
              <a:cs typeface="Arial"/>
            </a:endParaRPr>
          </a:p>
        </p:txBody>
      </p:sp>
      <p:sp>
        <p:nvSpPr>
          <p:cNvPr id="13" name="TextBox 12">
            <a:extLst>
              <a:ext uri="{FF2B5EF4-FFF2-40B4-BE49-F238E27FC236}">
                <a16:creationId xmlns:a16="http://schemas.microsoft.com/office/drawing/2014/main" id="{137E2CE9-EBB9-47F2-D448-6F87B80F8B98}"/>
              </a:ext>
            </a:extLst>
          </p:cNvPr>
          <p:cNvSpPr txBox="1"/>
          <p:nvPr/>
        </p:nvSpPr>
        <p:spPr>
          <a:xfrm>
            <a:off x="457200" y="6191497"/>
            <a:ext cx="10509382" cy="369332"/>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pPr>
            <a:r>
              <a:rPr lang="en-US" i="1">
                <a:latin typeface="Arial"/>
                <a:cs typeface="Arial"/>
              </a:rPr>
              <a:t>100m resolution as the target resolution based of satellite LST’s spatial resolution. </a:t>
            </a:r>
          </a:p>
        </p:txBody>
      </p:sp>
      <p:sp>
        <p:nvSpPr>
          <p:cNvPr id="14" name="Rectangle 13">
            <a:extLst>
              <a:ext uri="{FF2B5EF4-FFF2-40B4-BE49-F238E27FC236}">
                <a16:creationId xmlns:a16="http://schemas.microsoft.com/office/drawing/2014/main" id="{2A6BA7AF-D205-E886-D912-9543E1E2B037}"/>
              </a:ext>
            </a:extLst>
          </p:cNvPr>
          <p:cNvSpPr/>
          <p:nvPr/>
        </p:nvSpPr>
        <p:spPr>
          <a:xfrm>
            <a:off x="9873239" y="1279407"/>
            <a:ext cx="1881481" cy="506118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i="1">
              <a:latin typeface="Arial"/>
              <a:cs typeface="Arial"/>
            </a:endParaRPr>
          </a:p>
        </p:txBody>
      </p:sp>
      <p:sp>
        <p:nvSpPr>
          <p:cNvPr id="18" name="Oval 17">
            <a:extLst>
              <a:ext uri="{FF2B5EF4-FFF2-40B4-BE49-F238E27FC236}">
                <a16:creationId xmlns:a16="http://schemas.microsoft.com/office/drawing/2014/main" id="{C5FE9689-3EFF-4CFA-8CAB-79D80D1EB571}"/>
              </a:ext>
            </a:extLst>
          </p:cNvPr>
          <p:cNvSpPr/>
          <p:nvPr/>
        </p:nvSpPr>
        <p:spPr>
          <a:xfrm>
            <a:off x="32105" y="2825973"/>
            <a:ext cx="1880965" cy="1153411"/>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Data Query from CSW</a:t>
            </a:r>
          </a:p>
        </p:txBody>
      </p:sp>
      <p:cxnSp>
        <p:nvCxnSpPr>
          <p:cNvPr id="21" name="Straight Arrow Connector 20">
            <a:extLst>
              <a:ext uri="{FF2B5EF4-FFF2-40B4-BE49-F238E27FC236}">
                <a16:creationId xmlns:a16="http://schemas.microsoft.com/office/drawing/2014/main" id="{7D9D8FA7-35A1-ABCD-F9E7-838CF9CD91B3}"/>
              </a:ext>
            </a:extLst>
          </p:cNvPr>
          <p:cNvCxnSpPr>
            <a:cxnSpLocks/>
          </p:cNvCxnSpPr>
          <p:nvPr/>
        </p:nvCxnSpPr>
        <p:spPr>
          <a:xfrm>
            <a:off x="1921615" y="3459400"/>
            <a:ext cx="302792" cy="8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28212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500"/>
                                  </p:stCondLst>
                                  <p:childTnLst>
                                    <p:set>
                                      <p:cBhvr>
                                        <p:cTn id="13" dur="1" fill="hold">
                                          <p:stCondLst>
                                            <p:cond delay="0"/>
                                          </p:stCondLst>
                                        </p:cTn>
                                        <p:tgtEl>
                                          <p:spTgt spid="29"/>
                                        </p:tgtEl>
                                        <p:attrNameLst>
                                          <p:attrName>style.visibility</p:attrName>
                                        </p:attrNameLst>
                                      </p:cBhvr>
                                      <p:to>
                                        <p:strVal val="visible"/>
                                      </p:to>
                                    </p:set>
                                    <p:anim calcmode="lin" valueType="num">
                                      <p:cBhvr>
                                        <p:cTn id="14" dur="500" fill="hold"/>
                                        <p:tgtEl>
                                          <p:spTgt spid="29"/>
                                        </p:tgtEl>
                                        <p:attrNameLst>
                                          <p:attrName>ppt_w</p:attrName>
                                        </p:attrNameLst>
                                      </p:cBhvr>
                                      <p:tavLst>
                                        <p:tav tm="0">
                                          <p:val>
                                            <p:fltVal val="0"/>
                                          </p:val>
                                        </p:tav>
                                        <p:tav tm="100000">
                                          <p:val>
                                            <p:strVal val="#ppt_w"/>
                                          </p:val>
                                        </p:tav>
                                      </p:tavLst>
                                    </p:anim>
                                    <p:anim calcmode="lin" valueType="num">
                                      <p:cBhvr>
                                        <p:cTn id="15" dur="500" fill="hold"/>
                                        <p:tgtEl>
                                          <p:spTgt spid="29"/>
                                        </p:tgtEl>
                                        <p:attrNameLst>
                                          <p:attrName>ppt_h</p:attrName>
                                        </p:attrNameLst>
                                      </p:cBhvr>
                                      <p:tavLst>
                                        <p:tav tm="0">
                                          <p:val>
                                            <p:fltVal val="0"/>
                                          </p:val>
                                        </p:tav>
                                        <p:tav tm="100000">
                                          <p:val>
                                            <p:strVal val="#ppt_h"/>
                                          </p:val>
                                        </p:tav>
                                      </p:tavLst>
                                    </p:anim>
                                    <p:animEffect transition="in" filter="fade">
                                      <p:cBhvr>
                                        <p:cTn id="16" dur="500"/>
                                        <p:tgtEl>
                                          <p:spTgt spid="29"/>
                                        </p:tgtEl>
                                      </p:cBhvr>
                                    </p:animEffect>
                                  </p:childTnLst>
                                </p:cTn>
                              </p:par>
                            </p:childTnLst>
                          </p:cTn>
                        </p:par>
                        <p:par>
                          <p:cTn id="17" fill="hold">
                            <p:stCondLst>
                              <p:cond delay="1000"/>
                            </p:stCondLst>
                            <p:childTnLst>
                              <p:par>
                                <p:cTn id="18" presetID="22" presetClass="entr" presetSubtype="4" fill="hold" nodeType="after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down)">
                                      <p:cBhvr>
                                        <p:cTn id="20" dur="500"/>
                                        <p:tgtEl>
                                          <p:spTgt spid="35"/>
                                        </p:tgtEl>
                                      </p:cBhvr>
                                    </p:animEffect>
                                  </p:childTnLst>
                                </p:cTn>
                              </p:par>
                              <p:par>
                                <p:cTn id="21" presetID="22" presetClass="entr" presetSubtype="4"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down)">
                                      <p:cBhvr>
                                        <p:cTn id="23" dur="500"/>
                                        <p:tgtEl>
                                          <p:spTgt spid="46"/>
                                        </p:tgtEl>
                                      </p:cBhvr>
                                    </p:animEffect>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down)">
                                      <p:cBhvr>
                                        <p:cTn id="27" dur="500"/>
                                        <p:tgtEl>
                                          <p:spTgt spid="11"/>
                                        </p:tgtEl>
                                      </p:cBhvr>
                                    </p:animEffect>
                                  </p:childTnLst>
                                </p:cTn>
                              </p:par>
                            </p:childTnLst>
                          </p:cTn>
                        </p:par>
                        <p:par>
                          <p:cTn id="28" fill="hold">
                            <p:stCondLst>
                              <p:cond delay="2000"/>
                            </p:stCondLst>
                            <p:childTnLst>
                              <p:par>
                                <p:cTn id="29" presetID="22" presetClass="entr" presetSubtype="4" fill="hold" nodeType="after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wipe(down)">
                                      <p:cBhvr>
                                        <p:cTn id="3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90209" y="2774034"/>
            <a:ext cx="9611581" cy="60547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600" b="1" kern="1200">
                <a:solidFill>
                  <a:srgbClr val="10384F"/>
                </a:solidFill>
                <a:latin typeface="Arial"/>
                <a:cs typeface="Arial"/>
              </a:rPr>
              <a:t>3. ML/DL Model Results and Discussion</a:t>
            </a:r>
          </a:p>
        </p:txBody>
      </p:sp>
      <p:sp>
        <p:nvSpPr>
          <p:cNvPr id="2" name="Slide Number Placeholder 1">
            <a:extLst>
              <a:ext uri="{FF2B5EF4-FFF2-40B4-BE49-F238E27FC236}">
                <a16:creationId xmlns:a16="http://schemas.microsoft.com/office/drawing/2014/main" id="{A47F22BB-216E-F8C1-A74B-A69867F0B962}"/>
              </a:ext>
            </a:extLst>
          </p:cNvPr>
          <p:cNvSpPr>
            <a:spLocks noGrp="1"/>
          </p:cNvSpPr>
          <p:nvPr>
            <p:ph type="sldNum" sz="quarter" idx="12"/>
          </p:nvPr>
        </p:nvSpPr>
        <p:spPr/>
        <p:txBody>
          <a:bodyPr/>
          <a:lstStyle/>
          <a:p>
            <a:fld id="{EEAD9179-7A6B-4268-BEB2-F3B8EB06115B}" type="slidenum">
              <a:rPr lang="en-US" noProof="0" smtClean="0"/>
              <a:t>13</a:t>
            </a:fld>
            <a:endParaRPr lang="en-US" noProof="0"/>
          </a:p>
        </p:txBody>
      </p:sp>
      <p:cxnSp>
        <p:nvCxnSpPr>
          <p:cNvPr id="3" name="Straight Connector 2">
            <a:extLst>
              <a:ext uri="{FF2B5EF4-FFF2-40B4-BE49-F238E27FC236}">
                <a16:creationId xmlns:a16="http://schemas.microsoft.com/office/drawing/2014/main" id="{82A02A7D-C378-92E6-11FA-AEC42BEFAE49}"/>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60437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92233" y="24835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ML/DL Models: Results Summary</a:t>
            </a:r>
          </a:p>
        </p:txBody>
      </p:sp>
      <p:sp>
        <p:nvSpPr>
          <p:cNvPr id="2" name="Slide Number Placeholder 1">
            <a:extLst>
              <a:ext uri="{FF2B5EF4-FFF2-40B4-BE49-F238E27FC236}">
                <a16:creationId xmlns:a16="http://schemas.microsoft.com/office/drawing/2014/main" id="{01022AA2-4ED6-33F1-DCC7-83E7BA387B4B}"/>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4</a:t>
            </a:fld>
            <a:endParaRPr lang="en-US" noProof="0">
              <a:latin typeface="Arial"/>
              <a:cs typeface="Arial"/>
            </a:endParaRPr>
          </a:p>
        </p:txBody>
      </p:sp>
      <p:graphicFrame>
        <p:nvGraphicFramePr>
          <p:cNvPr id="4" name="Table 4">
            <a:extLst>
              <a:ext uri="{FF2B5EF4-FFF2-40B4-BE49-F238E27FC236}">
                <a16:creationId xmlns:a16="http://schemas.microsoft.com/office/drawing/2014/main" id="{53C504F3-4F33-42DC-8E5D-BAF1733E2B0A}"/>
              </a:ext>
            </a:extLst>
          </p:cNvPr>
          <p:cNvGraphicFramePr>
            <a:graphicFrameLocks noGrp="1"/>
          </p:cNvGraphicFramePr>
          <p:nvPr>
            <p:extLst>
              <p:ext uri="{D42A27DB-BD31-4B8C-83A1-F6EECF244321}">
                <p14:modId xmlns:p14="http://schemas.microsoft.com/office/powerpoint/2010/main" val="2129137206"/>
              </p:ext>
            </p:extLst>
          </p:nvPr>
        </p:nvGraphicFramePr>
        <p:xfrm>
          <a:off x="4124325" y="3088361"/>
          <a:ext cx="7916028" cy="3078480"/>
        </p:xfrm>
        <a:graphic>
          <a:graphicData uri="http://schemas.openxmlformats.org/drawingml/2006/table">
            <a:tbl>
              <a:tblPr firstRow="1" bandRow="1">
                <a:tableStyleId>{F5AB1C69-6EDB-4FF4-983F-18BD219EF322}</a:tableStyleId>
              </a:tblPr>
              <a:tblGrid>
                <a:gridCol w="2245028">
                  <a:extLst>
                    <a:ext uri="{9D8B030D-6E8A-4147-A177-3AD203B41FA5}">
                      <a16:colId xmlns:a16="http://schemas.microsoft.com/office/drawing/2014/main" val="3432048767"/>
                    </a:ext>
                  </a:extLst>
                </a:gridCol>
                <a:gridCol w="1712986">
                  <a:extLst>
                    <a:ext uri="{9D8B030D-6E8A-4147-A177-3AD203B41FA5}">
                      <a16:colId xmlns:a16="http://schemas.microsoft.com/office/drawing/2014/main" val="3230257318"/>
                    </a:ext>
                  </a:extLst>
                </a:gridCol>
                <a:gridCol w="1979007">
                  <a:extLst>
                    <a:ext uri="{9D8B030D-6E8A-4147-A177-3AD203B41FA5}">
                      <a16:colId xmlns:a16="http://schemas.microsoft.com/office/drawing/2014/main" val="877166648"/>
                    </a:ext>
                  </a:extLst>
                </a:gridCol>
                <a:gridCol w="1979007">
                  <a:extLst>
                    <a:ext uri="{9D8B030D-6E8A-4147-A177-3AD203B41FA5}">
                      <a16:colId xmlns:a16="http://schemas.microsoft.com/office/drawing/2014/main" val="3786900033"/>
                    </a:ext>
                  </a:extLst>
                </a:gridCol>
              </a:tblGrid>
              <a:tr h="571060">
                <a:tc>
                  <a:txBody>
                    <a:bodyPr/>
                    <a:lstStyle/>
                    <a:p>
                      <a:pPr algn="ctr"/>
                      <a:r>
                        <a:rPr lang="en-US" sz="1600">
                          <a:solidFill>
                            <a:schemeClr val="tx1"/>
                          </a:solidFill>
                          <a:latin typeface="Arial"/>
                        </a:rPr>
                        <a:t>Variable</a:t>
                      </a:r>
                    </a:p>
                  </a:txBody>
                  <a:tcPr anchor="ctr"/>
                </a:tc>
                <a:tc>
                  <a:txBody>
                    <a:bodyPr/>
                    <a:lstStyle/>
                    <a:p>
                      <a:pPr algn="ctr"/>
                      <a:r>
                        <a:rPr lang="en-US" sz="1600">
                          <a:solidFill>
                            <a:schemeClr val="tx1"/>
                          </a:solidFill>
                          <a:latin typeface="Arial"/>
                        </a:rPr>
                        <a:t>R</a:t>
                      </a:r>
                      <a:r>
                        <a:rPr lang="en-US" sz="1600" baseline="30000">
                          <a:solidFill>
                            <a:schemeClr val="tx1"/>
                          </a:solidFill>
                          <a:latin typeface="Arial"/>
                        </a:rPr>
                        <a:t>2</a:t>
                      </a:r>
                      <a:r>
                        <a:rPr lang="en-US" sz="1600">
                          <a:solidFill>
                            <a:schemeClr val="tx1"/>
                          </a:solidFill>
                          <a:latin typeface="Arial"/>
                        </a:rPr>
                        <a:t> without Mode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7030A0"/>
                          </a:solidFill>
                          <a:latin typeface="Arial"/>
                        </a:rPr>
                        <a:t>R</a:t>
                      </a:r>
                      <a:r>
                        <a:rPr lang="en-US" sz="1600" baseline="30000">
                          <a:solidFill>
                            <a:srgbClr val="7030A0"/>
                          </a:solidFill>
                          <a:latin typeface="Arial"/>
                        </a:rPr>
                        <a:t>2</a:t>
                      </a:r>
                      <a:r>
                        <a:rPr lang="en-US" sz="1600">
                          <a:solidFill>
                            <a:srgbClr val="7030A0"/>
                          </a:solidFill>
                          <a:latin typeface="Arial"/>
                        </a:rPr>
                        <a:t> with trained Model</a:t>
                      </a:r>
                    </a:p>
                    <a:p>
                      <a:pPr algn="ctr"/>
                      <a:r>
                        <a:rPr lang="en-US" sz="1600">
                          <a:solidFill>
                            <a:srgbClr val="7030A0"/>
                          </a:solidFill>
                          <a:latin typeface="Arial"/>
                        </a:rPr>
                        <a:t>(Train Se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lumMod val="75000"/>
                            </a:schemeClr>
                          </a:solidFill>
                          <a:latin typeface="Arial"/>
                        </a:rPr>
                        <a:t>R</a:t>
                      </a:r>
                      <a:r>
                        <a:rPr lang="en-US" sz="1600" baseline="30000">
                          <a:solidFill>
                            <a:schemeClr val="accent2">
                              <a:lumMod val="75000"/>
                            </a:schemeClr>
                          </a:solidFill>
                          <a:latin typeface="Arial"/>
                        </a:rPr>
                        <a:t>2</a:t>
                      </a:r>
                      <a:r>
                        <a:rPr lang="en-US" sz="1600">
                          <a:solidFill>
                            <a:schemeClr val="accent2">
                              <a:lumMod val="75000"/>
                            </a:schemeClr>
                          </a:solidFill>
                          <a:latin typeface="Arial"/>
                        </a:rPr>
                        <a:t> with trained Model</a:t>
                      </a:r>
                    </a:p>
                    <a:p>
                      <a:pPr algn="ctr"/>
                      <a:r>
                        <a:rPr lang="en-US" sz="1600">
                          <a:solidFill>
                            <a:schemeClr val="accent2">
                              <a:lumMod val="75000"/>
                            </a:schemeClr>
                          </a:solidFill>
                          <a:latin typeface="Arial"/>
                        </a:rPr>
                        <a:t>(Test Set)</a:t>
                      </a:r>
                    </a:p>
                  </a:txBody>
                  <a:tcPr anchor="ctr"/>
                </a:tc>
                <a:extLst>
                  <a:ext uri="{0D108BD9-81ED-4DB2-BD59-A6C34878D82A}">
                    <a16:rowId xmlns:a16="http://schemas.microsoft.com/office/drawing/2014/main" val="619344666"/>
                  </a:ext>
                </a:extLst>
              </a:tr>
              <a:tr h="330614">
                <a:tc>
                  <a:txBody>
                    <a:bodyPr/>
                    <a:lstStyle/>
                    <a:p>
                      <a:pPr algn="ctr"/>
                      <a:r>
                        <a:rPr lang="en-US" sz="1600">
                          <a:solidFill>
                            <a:schemeClr val="tx1"/>
                          </a:solidFill>
                          <a:latin typeface="Arial"/>
                        </a:rPr>
                        <a:t>Max Temperature</a:t>
                      </a:r>
                    </a:p>
                  </a:txBody>
                  <a:tcPr anchor="ctr"/>
                </a:tc>
                <a:tc>
                  <a:txBody>
                    <a:bodyPr/>
                    <a:lstStyle/>
                    <a:p>
                      <a:pPr algn="ctr"/>
                      <a:r>
                        <a:rPr lang="en-US" sz="1600">
                          <a:solidFill>
                            <a:schemeClr val="tx1"/>
                          </a:solidFill>
                          <a:latin typeface="Arial"/>
                        </a:rPr>
                        <a:t>0.968</a:t>
                      </a:r>
                    </a:p>
                  </a:txBody>
                  <a:tcPr anchor="ctr"/>
                </a:tc>
                <a:tc>
                  <a:txBody>
                    <a:bodyPr/>
                    <a:lstStyle/>
                    <a:p>
                      <a:pPr algn="ctr"/>
                      <a:r>
                        <a:rPr lang="en-US" sz="1600">
                          <a:solidFill>
                            <a:srgbClr val="7030A0"/>
                          </a:solidFill>
                          <a:latin typeface="Arial"/>
                        </a:rPr>
                        <a:t>0.989</a:t>
                      </a:r>
                    </a:p>
                  </a:txBody>
                  <a:tcPr anchor="ctr"/>
                </a:tc>
                <a:tc>
                  <a:txBody>
                    <a:bodyPr/>
                    <a:lstStyle/>
                    <a:p>
                      <a:pPr algn="ctr"/>
                      <a:r>
                        <a:rPr lang="en-US" sz="1600">
                          <a:solidFill>
                            <a:schemeClr val="accent2">
                              <a:lumMod val="75000"/>
                            </a:schemeClr>
                          </a:solidFill>
                          <a:latin typeface="Arial"/>
                        </a:rPr>
                        <a:t>0.987</a:t>
                      </a:r>
                    </a:p>
                  </a:txBody>
                  <a:tcPr anchor="ctr"/>
                </a:tc>
                <a:extLst>
                  <a:ext uri="{0D108BD9-81ED-4DB2-BD59-A6C34878D82A}">
                    <a16:rowId xmlns:a16="http://schemas.microsoft.com/office/drawing/2014/main" val="887006705"/>
                  </a:ext>
                </a:extLst>
              </a:tr>
              <a:tr h="330614">
                <a:tc>
                  <a:txBody>
                    <a:bodyPr/>
                    <a:lstStyle/>
                    <a:p>
                      <a:pPr algn="ctr"/>
                      <a:r>
                        <a:rPr lang="en-US" sz="1600">
                          <a:solidFill>
                            <a:schemeClr val="tx1"/>
                          </a:solidFill>
                          <a:latin typeface="Arial"/>
                        </a:rPr>
                        <a:t>Min Temperature</a:t>
                      </a:r>
                    </a:p>
                  </a:txBody>
                  <a:tcPr anchor="ctr"/>
                </a:tc>
                <a:tc>
                  <a:txBody>
                    <a:bodyPr/>
                    <a:lstStyle/>
                    <a:p>
                      <a:pPr algn="ctr"/>
                      <a:r>
                        <a:rPr lang="en-US" sz="1600">
                          <a:solidFill>
                            <a:schemeClr val="tx1"/>
                          </a:solidFill>
                          <a:latin typeface="Arial"/>
                        </a:rPr>
                        <a:t>0.813</a:t>
                      </a:r>
                    </a:p>
                  </a:txBody>
                  <a:tcPr anchor="ctr"/>
                </a:tc>
                <a:tc>
                  <a:txBody>
                    <a:bodyPr/>
                    <a:lstStyle/>
                    <a:p>
                      <a:pPr algn="ctr"/>
                      <a:r>
                        <a:rPr lang="en-US" sz="1600">
                          <a:solidFill>
                            <a:srgbClr val="7030A0"/>
                          </a:solidFill>
                          <a:latin typeface="Arial"/>
                        </a:rPr>
                        <a:t>0.971</a:t>
                      </a:r>
                    </a:p>
                  </a:txBody>
                  <a:tcPr anchor="ctr"/>
                </a:tc>
                <a:tc>
                  <a:txBody>
                    <a:bodyPr/>
                    <a:lstStyle/>
                    <a:p>
                      <a:pPr algn="ctr"/>
                      <a:r>
                        <a:rPr lang="en-US" sz="1600">
                          <a:solidFill>
                            <a:schemeClr val="accent2">
                              <a:lumMod val="75000"/>
                            </a:schemeClr>
                          </a:solidFill>
                          <a:latin typeface="Arial"/>
                        </a:rPr>
                        <a:t>0.960</a:t>
                      </a:r>
                    </a:p>
                  </a:txBody>
                  <a:tcPr anchor="ctr"/>
                </a:tc>
                <a:extLst>
                  <a:ext uri="{0D108BD9-81ED-4DB2-BD59-A6C34878D82A}">
                    <a16:rowId xmlns:a16="http://schemas.microsoft.com/office/drawing/2014/main" val="4014899105"/>
                  </a:ext>
                </a:extLst>
              </a:tr>
              <a:tr h="330614">
                <a:tc>
                  <a:txBody>
                    <a:bodyPr/>
                    <a:lstStyle/>
                    <a:p>
                      <a:pPr algn="ctr"/>
                      <a:r>
                        <a:rPr lang="en-US" sz="1600">
                          <a:solidFill>
                            <a:schemeClr val="tx1"/>
                          </a:solidFill>
                          <a:latin typeface="Arial"/>
                        </a:rPr>
                        <a:t>Average Wind Speed</a:t>
                      </a:r>
                    </a:p>
                  </a:txBody>
                  <a:tcPr anchor="ctr"/>
                </a:tc>
                <a:tc>
                  <a:txBody>
                    <a:bodyPr/>
                    <a:lstStyle/>
                    <a:p>
                      <a:pPr algn="ctr"/>
                      <a:r>
                        <a:rPr lang="en-US" sz="1600">
                          <a:solidFill>
                            <a:schemeClr val="tx1"/>
                          </a:solidFill>
                          <a:latin typeface="Arial"/>
                        </a:rPr>
                        <a:t>0.442</a:t>
                      </a:r>
                    </a:p>
                  </a:txBody>
                  <a:tcPr anchor="ctr"/>
                </a:tc>
                <a:tc>
                  <a:txBody>
                    <a:bodyPr/>
                    <a:lstStyle/>
                    <a:p>
                      <a:pPr algn="ctr"/>
                      <a:r>
                        <a:rPr lang="en-US" sz="1600">
                          <a:solidFill>
                            <a:srgbClr val="7030A0"/>
                          </a:solidFill>
                          <a:latin typeface="Arial"/>
                        </a:rPr>
                        <a:t>0.915</a:t>
                      </a:r>
                    </a:p>
                  </a:txBody>
                  <a:tcPr anchor="ctr"/>
                </a:tc>
                <a:tc>
                  <a:txBody>
                    <a:bodyPr/>
                    <a:lstStyle/>
                    <a:p>
                      <a:pPr algn="ctr"/>
                      <a:r>
                        <a:rPr lang="en-US" sz="1600">
                          <a:solidFill>
                            <a:schemeClr val="accent2">
                              <a:lumMod val="75000"/>
                            </a:schemeClr>
                          </a:solidFill>
                          <a:latin typeface="Arial"/>
                        </a:rPr>
                        <a:t>0.896</a:t>
                      </a:r>
                    </a:p>
                  </a:txBody>
                  <a:tcPr anchor="ctr"/>
                </a:tc>
                <a:extLst>
                  <a:ext uri="{0D108BD9-81ED-4DB2-BD59-A6C34878D82A}">
                    <a16:rowId xmlns:a16="http://schemas.microsoft.com/office/drawing/2014/main" val="1733285006"/>
                  </a:ext>
                </a:extLst>
              </a:tr>
              <a:tr h="359408">
                <a:tc>
                  <a:txBody>
                    <a:bodyPr/>
                    <a:lstStyle/>
                    <a:p>
                      <a:pPr algn="ctr"/>
                      <a:r>
                        <a:rPr lang="en-US" sz="1600">
                          <a:solidFill>
                            <a:schemeClr val="tx1"/>
                          </a:solidFill>
                          <a:latin typeface="Arial"/>
                        </a:rPr>
                        <a:t>Average Relative Humidity</a:t>
                      </a:r>
                    </a:p>
                  </a:txBody>
                  <a:tcPr anchor="ctr"/>
                </a:tc>
                <a:tc>
                  <a:txBody>
                    <a:bodyPr/>
                    <a:lstStyle/>
                    <a:p>
                      <a:pPr algn="ctr"/>
                      <a:r>
                        <a:rPr lang="en-US" sz="1600">
                          <a:solidFill>
                            <a:schemeClr val="tx1"/>
                          </a:solidFill>
                          <a:latin typeface="Arial"/>
                        </a:rPr>
                        <a:t>0.797</a:t>
                      </a:r>
                    </a:p>
                  </a:txBody>
                  <a:tcPr anchor="ctr"/>
                </a:tc>
                <a:tc>
                  <a:txBody>
                    <a:bodyPr/>
                    <a:lstStyle/>
                    <a:p>
                      <a:pPr algn="ctr"/>
                      <a:r>
                        <a:rPr lang="en-US" sz="1600">
                          <a:solidFill>
                            <a:srgbClr val="7030A0"/>
                          </a:solidFill>
                          <a:latin typeface="Arial"/>
                        </a:rPr>
                        <a:t>0.948</a:t>
                      </a:r>
                    </a:p>
                  </a:txBody>
                  <a:tcPr anchor="ctr"/>
                </a:tc>
                <a:tc>
                  <a:txBody>
                    <a:bodyPr/>
                    <a:lstStyle/>
                    <a:p>
                      <a:pPr algn="ctr"/>
                      <a:r>
                        <a:rPr lang="en-US" sz="1600">
                          <a:solidFill>
                            <a:schemeClr val="accent2">
                              <a:lumMod val="75000"/>
                            </a:schemeClr>
                          </a:solidFill>
                          <a:latin typeface="Arial"/>
                        </a:rPr>
                        <a:t>0.940</a:t>
                      </a:r>
                    </a:p>
                  </a:txBody>
                  <a:tcPr anchor="ctr"/>
                </a:tc>
                <a:extLst>
                  <a:ext uri="{0D108BD9-81ED-4DB2-BD59-A6C34878D82A}">
                    <a16:rowId xmlns:a16="http://schemas.microsoft.com/office/drawing/2014/main" val="3499167126"/>
                  </a:ext>
                </a:extLst>
              </a:tr>
              <a:tr h="330614">
                <a:tc>
                  <a:txBody>
                    <a:bodyPr/>
                    <a:lstStyle/>
                    <a:p>
                      <a:pPr algn="ctr"/>
                      <a:r>
                        <a:rPr lang="en-US" sz="1600">
                          <a:solidFill>
                            <a:schemeClr val="tx1"/>
                          </a:solidFill>
                          <a:latin typeface="Arial"/>
                        </a:rPr>
                        <a:t>Average Temperature</a:t>
                      </a:r>
                    </a:p>
                  </a:txBody>
                  <a:tcPr anchor="ctr"/>
                </a:tc>
                <a:tc>
                  <a:txBody>
                    <a:bodyPr/>
                    <a:lstStyle/>
                    <a:p>
                      <a:pPr algn="ctr"/>
                      <a:r>
                        <a:rPr lang="en-US" sz="1600">
                          <a:solidFill>
                            <a:schemeClr val="tx1"/>
                          </a:solidFill>
                          <a:latin typeface="Arial"/>
                        </a:rPr>
                        <a:t>0.825</a:t>
                      </a:r>
                    </a:p>
                  </a:txBody>
                  <a:tcPr anchor="ctr"/>
                </a:tc>
                <a:tc>
                  <a:txBody>
                    <a:bodyPr/>
                    <a:lstStyle/>
                    <a:p>
                      <a:pPr algn="ctr"/>
                      <a:r>
                        <a:rPr lang="en-US" sz="1600">
                          <a:solidFill>
                            <a:srgbClr val="7030A0"/>
                          </a:solidFill>
                          <a:latin typeface="Arial"/>
                        </a:rPr>
                        <a:t>0.989</a:t>
                      </a:r>
                    </a:p>
                  </a:txBody>
                  <a:tcPr anchor="ctr"/>
                </a:tc>
                <a:tc>
                  <a:txBody>
                    <a:bodyPr/>
                    <a:lstStyle/>
                    <a:p>
                      <a:pPr algn="ctr"/>
                      <a:r>
                        <a:rPr lang="en-US" sz="1600">
                          <a:solidFill>
                            <a:schemeClr val="accent2">
                              <a:lumMod val="75000"/>
                            </a:schemeClr>
                          </a:solidFill>
                          <a:latin typeface="Arial"/>
                        </a:rPr>
                        <a:t>0.987</a:t>
                      </a:r>
                    </a:p>
                  </a:txBody>
                  <a:tcPr anchor="ctr"/>
                </a:tc>
                <a:extLst>
                  <a:ext uri="{0D108BD9-81ED-4DB2-BD59-A6C34878D82A}">
                    <a16:rowId xmlns:a16="http://schemas.microsoft.com/office/drawing/2014/main" val="4143933347"/>
                  </a:ext>
                </a:extLst>
              </a:tr>
              <a:tr h="330614">
                <a:tc>
                  <a:txBody>
                    <a:bodyPr/>
                    <a:lstStyle/>
                    <a:p>
                      <a:pPr algn="ctr"/>
                      <a:r>
                        <a:rPr lang="en-US" sz="1600" b="1">
                          <a:solidFill>
                            <a:schemeClr val="tx1"/>
                          </a:solidFill>
                          <a:latin typeface="Arial"/>
                        </a:rPr>
                        <a:t>Total Precipitation</a:t>
                      </a:r>
                    </a:p>
                  </a:txBody>
                  <a:tcPr anchor="ctr"/>
                </a:tc>
                <a:tc>
                  <a:txBody>
                    <a:bodyPr/>
                    <a:lstStyle/>
                    <a:p>
                      <a:pPr algn="ctr"/>
                      <a:r>
                        <a:rPr lang="en-US" sz="1600" b="1">
                          <a:solidFill>
                            <a:schemeClr val="tx1"/>
                          </a:solidFill>
                          <a:latin typeface="Arial"/>
                        </a:rPr>
                        <a:t>0.509</a:t>
                      </a:r>
                    </a:p>
                  </a:txBody>
                  <a:tcPr anchor="ctr"/>
                </a:tc>
                <a:tc>
                  <a:txBody>
                    <a:bodyPr/>
                    <a:lstStyle/>
                    <a:p>
                      <a:pPr algn="ctr"/>
                      <a:r>
                        <a:rPr lang="en-US" sz="1600" b="1">
                          <a:solidFill>
                            <a:srgbClr val="7030A0"/>
                          </a:solidFill>
                          <a:latin typeface="Arial"/>
                        </a:rPr>
                        <a:t>0.582</a:t>
                      </a:r>
                    </a:p>
                  </a:txBody>
                  <a:tcPr anchor="ctr"/>
                </a:tc>
                <a:tc>
                  <a:txBody>
                    <a:bodyPr/>
                    <a:lstStyle/>
                    <a:p>
                      <a:pPr algn="ctr"/>
                      <a:r>
                        <a:rPr lang="en-US" sz="1600" b="1" dirty="0">
                          <a:solidFill>
                            <a:schemeClr val="accent2">
                              <a:lumMod val="75000"/>
                            </a:schemeClr>
                          </a:solidFill>
                          <a:latin typeface="Arial"/>
                        </a:rPr>
                        <a:t>0.504</a:t>
                      </a:r>
                    </a:p>
                  </a:txBody>
                  <a:tcPr anchor="ctr"/>
                </a:tc>
                <a:extLst>
                  <a:ext uri="{0D108BD9-81ED-4DB2-BD59-A6C34878D82A}">
                    <a16:rowId xmlns:a16="http://schemas.microsoft.com/office/drawing/2014/main" val="725008321"/>
                  </a:ext>
                </a:extLst>
              </a:tr>
            </a:tbl>
          </a:graphicData>
        </a:graphic>
      </p:graphicFrame>
      <p:sp>
        <p:nvSpPr>
          <p:cNvPr id="7" name="TextBox 6">
            <a:extLst>
              <a:ext uri="{FF2B5EF4-FFF2-40B4-BE49-F238E27FC236}">
                <a16:creationId xmlns:a16="http://schemas.microsoft.com/office/drawing/2014/main" id="{F6EAD1EE-7BCC-F32D-900D-A3EA1DD52B04}"/>
              </a:ext>
            </a:extLst>
          </p:cNvPr>
          <p:cNvSpPr txBox="1"/>
          <p:nvPr/>
        </p:nvSpPr>
        <p:spPr>
          <a:xfrm>
            <a:off x="892233" y="1068561"/>
            <a:ext cx="10191565" cy="646331"/>
          </a:xfrm>
          <a:prstGeom prst="rect">
            <a:avLst/>
          </a:prstGeom>
          <a:noFill/>
        </p:spPr>
        <p:txBody>
          <a:bodyPr wrap="square" lIns="91440" tIns="45720" rIns="91440" bIns="45720" rtlCol="0" anchor="t">
            <a:spAutoFit/>
          </a:bodyPr>
          <a:lstStyle/>
          <a:p>
            <a:r>
              <a:rPr lang="en-US">
                <a:latin typeface="Arial"/>
                <a:cs typeface="Arial"/>
              </a:rPr>
              <a:t>ML model improves R</a:t>
            </a:r>
            <a:r>
              <a:rPr lang="en-US" baseline="30000">
                <a:latin typeface="Arial"/>
                <a:cs typeface="Arial"/>
              </a:rPr>
              <a:t>2 </a:t>
            </a:r>
            <a:r>
              <a:rPr lang="en-US">
                <a:latin typeface="Arial"/>
                <a:cs typeface="Arial"/>
              </a:rPr>
              <a:t>in both train and test dataset for the weather variables expect for the ML/DL model for total precipitation.</a:t>
            </a:r>
            <a:r>
              <a:rPr lang="en-US" baseline="30000">
                <a:latin typeface="Arial"/>
                <a:cs typeface="Arial"/>
              </a:rPr>
              <a:t> </a:t>
            </a:r>
          </a:p>
        </p:txBody>
      </p:sp>
      <p:cxnSp>
        <p:nvCxnSpPr>
          <p:cNvPr id="5" name="Straight Arrow Connector 4">
            <a:extLst>
              <a:ext uri="{FF2B5EF4-FFF2-40B4-BE49-F238E27FC236}">
                <a16:creationId xmlns:a16="http://schemas.microsoft.com/office/drawing/2014/main" id="{DAB66E9A-2F8A-176A-5927-5B66B3A0DCCE}"/>
              </a:ext>
            </a:extLst>
          </p:cNvPr>
          <p:cNvCxnSpPr>
            <a:cxnSpLocks/>
          </p:cNvCxnSpPr>
          <p:nvPr/>
        </p:nvCxnSpPr>
        <p:spPr>
          <a:xfrm flipV="1">
            <a:off x="7217568" y="2842170"/>
            <a:ext cx="0" cy="2461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FCAC62EA-8A81-EE11-10F3-39C2B2E65E1E}"/>
              </a:ext>
            </a:extLst>
          </p:cNvPr>
          <p:cNvSpPr txBox="1"/>
          <p:nvPr/>
        </p:nvSpPr>
        <p:spPr>
          <a:xfrm>
            <a:off x="6182156" y="1711476"/>
            <a:ext cx="2071699" cy="1077218"/>
          </a:xfrm>
          <a:prstGeom prst="rect">
            <a:avLst/>
          </a:prstGeom>
          <a:noFill/>
        </p:spPr>
        <p:txBody>
          <a:bodyPr wrap="square" lIns="91440" tIns="45720" rIns="91440" bIns="45720" rtlCol="0" anchor="t">
            <a:spAutoFit/>
          </a:bodyPr>
          <a:lstStyle/>
          <a:p>
            <a:pPr algn="ctr"/>
            <a:r>
              <a:rPr lang="en-US" sz="1600" i="1">
                <a:latin typeface="Arial"/>
                <a:cs typeface="Arial"/>
              </a:rPr>
              <a:t>R</a:t>
            </a:r>
            <a:r>
              <a:rPr lang="en-US" sz="1600" i="1" baseline="30000">
                <a:latin typeface="Arial"/>
                <a:cs typeface="Arial"/>
              </a:rPr>
              <a:t>2</a:t>
            </a:r>
            <a:r>
              <a:rPr lang="en-US" sz="1600" i="1">
                <a:latin typeface="Arial"/>
                <a:cs typeface="Arial"/>
              </a:rPr>
              <a:t> between resampled ERA5 data (4km) and TWC Data (4km)</a:t>
            </a:r>
          </a:p>
        </p:txBody>
      </p:sp>
      <p:sp>
        <p:nvSpPr>
          <p:cNvPr id="8" name="TextBox 7">
            <a:extLst>
              <a:ext uri="{FF2B5EF4-FFF2-40B4-BE49-F238E27FC236}">
                <a16:creationId xmlns:a16="http://schemas.microsoft.com/office/drawing/2014/main" id="{DF929442-23E2-832B-07C5-CFA9F0D8C74C}"/>
              </a:ext>
            </a:extLst>
          </p:cNvPr>
          <p:cNvSpPr txBox="1"/>
          <p:nvPr/>
        </p:nvSpPr>
        <p:spPr>
          <a:xfrm>
            <a:off x="9079300" y="1587430"/>
            <a:ext cx="2071699" cy="1077218"/>
          </a:xfrm>
          <a:prstGeom prst="rect">
            <a:avLst/>
          </a:prstGeom>
          <a:noFill/>
        </p:spPr>
        <p:txBody>
          <a:bodyPr wrap="square" lIns="91440" tIns="45720" rIns="91440" bIns="45720" rtlCol="0" anchor="t">
            <a:spAutoFit/>
          </a:bodyPr>
          <a:lstStyle/>
          <a:p>
            <a:pPr algn="ctr"/>
            <a:r>
              <a:rPr lang="en-US" sz="1600" i="1">
                <a:latin typeface="Arial"/>
                <a:cs typeface="Arial"/>
              </a:rPr>
              <a:t>R</a:t>
            </a:r>
            <a:r>
              <a:rPr lang="en-US" sz="1600" i="1" baseline="30000">
                <a:latin typeface="Arial"/>
                <a:cs typeface="Arial"/>
              </a:rPr>
              <a:t>2</a:t>
            </a:r>
            <a:r>
              <a:rPr lang="en-US" sz="1600" i="1">
                <a:latin typeface="Arial"/>
                <a:cs typeface="Arial"/>
              </a:rPr>
              <a:t> between modeled ERA5 data (4km) and TWC Data (4km)</a:t>
            </a:r>
          </a:p>
        </p:txBody>
      </p:sp>
      <p:sp>
        <p:nvSpPr>
          <p:cNvPr id="10" name="Right Brace 9">
            <a:extLst>
              <a:ext uri="{FF2B5EF4-FFF2-40B4-BE49-F238E27FC236}">
                <a16:creationId xmlns:a16="http://schemas.microsoft.com/office/drawing/2014/main" id="{06DC33EA-80CC-17B8-8CC3-A0A0E08E06B1}"/>
              </a:ext>
            </a:extLst>
          </p:cNvPr>
          <p:cNvSpPr/>
          <p:nvPr/>
        </p:nvSpPr>
        <p:spPr>
          <a:xfrm rot="16200000">
            <a:off x="9941963" y="1889455"/>
            <a:ext cx="281772" cy="1997411"/>
          </a:xfrm>
          <a:prstGeom prst="rightBrace">
            <a:avLst/>
          </a:prstGeom>
        </p:spPr>
        <p:style>
          <a:lnRef idx="1">
            <a:schemeClr val="dk1"/>
          </a:lnRef>
          <a:fillRef idx="0">
            <a:schemeClr val="dk1"/>
          </a:fillRef>
          <a:effectRef idx="0">
            <a:schemeClr val="dk1"/>
          </a:effectRef>
          <a:fontRef idx="minor">
            <a:schemeClr val="tx1"/>
          </a:fontRef>
        </p:style>
        <p:txBody>
          <a:bodyPr lIns="91440" tIns="45720" rIns="91440" bIns="45720" rtlCol="0" anchor="ctr"/>
          <a:lstStyle/>
          <a:p>
            <a:pPr algn="ctr"/>
            <a:endParaRPr lang="en-US">
              <a:latin typeface="Arial"/>
              <a:cs typeface="Arial"/>
            </a:endParaRPr>
          </a:p>
        </p:txBody>
      </p:sp>
      <p:sp>
        <p:nvSpPr>
          <p:cNvPr id="3" name="Rectangle 2">
            <a:extLst>
              <a:ext uri="{FF2B5EF4-FFF2-40B4-BE49-F238E27FC236}">
                <a16:creationId xmlns:a16="http://schemas.microsoft.com/office/drawing/2014/main" id="{F85CE8A7-A3C4-8714-8E34-FC0984E2782A}"/>
              </a:ext>
            </a:extLst>
          </p:cNvPr>
          <p:cNvSpPr/>
          <p:nvPr/>
        </p:nvSpPr>
        <p:spPr>
          <a:xfrm>
            <a:off x="4124324" y="5871530"/>
            <a:ext cx="7916029" cy="3501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
        <p:nvSpPr>
          <p:cNvPr id="13" name="TextBox 12">
            <a:extLst>
              <a:ext uri="{FF2B5EF4-FFF2-40B4-BE49-F238E27FC236}">
                <a16:creationId xmlns:a16="http://schemas.microsoft.com/office/drawing/2014/main" id="{1B27D0BC-C32A-050B-3A51-2822116A2D94}"/>
              </a:ext>
            </a:extLst>
          </p:cNvPr>
          <p:cNvSpPr txBox="1"/>
          <p:nvPr/>
        </p:nvSpPr>
        <p:spPr>
          <a:xfrm>
            <a:off x="169383" y="2347632"/>
            <a:ext cx="3655827" cy="892552"/>
          </a:xfrm>
          <a:prstGeom prst="rect">
            <a:avLst/>
          </a:prstGeom>
          <a:noFill/>
        </p:spPr>
        <p:txBody>
          <a:bodyPr wrap="square" lIns="91440" tIns="45720" rIns="91440" bIns="45720" rtlCol="0" anchor="t">
            <a:spAutoFit/>
          </a:bodyPr>
          <a:lstStyle/>
          <a:p>
            <a:pPr algn="ctr"/>
            <a:r>
              <a:rPr lang="en-US" b="1">
                <a:latin typeface="Arial"/>
                <a:cs typeface="Arial"/>
              </a:rPr>
              <a:t>R</a:t>
            </a:r>
            <a:r>
              <a:rPr lang="en-US" b="1" baseline="30000">
                <a:latin typeface="Arial"/>
                <a:cs typeface="Arial"/>
              </a:rPr>
              <a:t>2 </a:t>
            </a:r>
            <a:r>
              <a:rPr lang="en-US" b="1">
                <a:latin typeface="Arial"/>
                <a:cs typeface="Arial"/>
              </a:rPr>
              <a:t>(Coef. Of Determination)</a:t>
            </a:r>
            <a:endParaRPr lang="en-US" sz="1600" i="1">
              <a:latin typeface="Arial"/>
              <a:cs typeface="Arial"/>
            </a:endParaRPr>
          </a:p>
          <a:p>
            <a:pPr algn="ctr"/>
            <a:r>
              <a:rPr lang="en-US" sz="1600" i="1">
                <a:latin typeface="Arial"/>
                <a:cs typeface="Arial"/>
              </a:rPr>
              <a:t>Goodness of fit</a:t>
            </a:r>
          </a:p>
          <a:p>
            <a:endParaRPr lang="en-US" b="1" u="sng">
              <a:latin typeface="Arial"/>
              <a:cs typeface="Arial"/>
            </a:endParaRPr>
          </a:p>
        </p:txBody>
      </p:sp>
      <p:grpSp>
        <p:nvGrpSpPr>
          <p:cNvPr id="25" name="Group 24">
            <a:extLst>
              <a:ext uri="{FF2B5EF4-FFF2-40B4-BE49-F238E27FC236}">
                <a16:creationId xmlns:a16="http://schemas.microsoft.com/office/drawing/2014/main" id="{D0030FB9-9D09-1A5B-4C95-458D9470CEDA}"/>
              </a:ext>
            </a:extLst>
          </p:cNvPr>
          <p:cNvGrpSpPr/>
          <p:nvPr/>
        </p:nvGrpSpPr>
        <p:grpSpPr>
          <a:xfrm>
            <a:off x="59310" y="2929426"/>
            <a:ext cx="3886200" cy="2985739"/>
            <a:chOff x="59310" y="2929426"/>
            <a:chExt cx="3886200" cy="2985739"/>
          </a:xfrm>
        </p:grpSpPr>
        <p:pic>
          <p:nvPicPr>
            <p:cNvPr id="15" name="Graphic 14">
              <a:extLst>
                <a:ext uri="{FF2B5EF4-FFF2-40B4-BE49-F238E27FC236}">
                  <a16:creationId xmlns:a16="http://schemas.microsoft.com/office/drawing/2014/main" id="{A768B25F-3903-E414-8D0E-31B9749194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310" y="2929426"/>
              <a:ext cx="3886200" cy="2985739"/>
            </a:xfrm>
            <a:prstGeom prst="rect">
              <a:avLst/>
            </a:prstGeom>
          </p:spPr>
        </p:pic>
        <p:cxnSp>
          <p:nvCxnSpPr>
            <p:cNvPr id="17" name="Straight Connector 16">
              <a:extLst>
                <a:ext uri="{FF2B5EF4-FFF2-40B4-BE49-F238E27FC236}">
                  <a16:creationId xmlns:a16="http://schemas.microsoft.com/office/drawing/2014/main" id="{48FAFDDF-3795-D4D8-5111-1AA992B7F1CC}"/>
                </a:ext>
              </a:extLst>
            </p:cNvPr>
            <p:cNvCxnSpPr/>
            <p:nvPr/>
          </p:nvCxnSpPr>
          <p:spPr>
            <a:xfrm flipV="1">
              <a:off x="885825" y="3523208"/>
              <a:ext cx="2421609" cy="1639342"/>
            </a:xfrm>
            <a:prstGeom prst="line">
              <a:avLst/>
            </a:prstGeom>
          </p:spPr>
          <p:style>
            <a:lnRef idx="3">
              <a:schemeClr val="accent2"/>
            </a:lnRef>
            <a:fillRef idx="0">
              <a:schemeClr val="accent2"/>
            </a:fillRef>
            <a:effectRef idx="2">
              <a:schemeClr val="accent2"/>
            </a:effectRef>
            <a:fontRef idx="minor">
              <a:schemeClr val="tx1"/>
            </a:fontRef>
          </p:style>
        </p:cxnSp>
        <p:sp>
          <p:nvSpPr>
            <p:cNvPr id="11" name="Oval 10">
              <a:extLst>
                <a:ext uri="{FF2B5EF4-FFF2-40B4-BE49-F238E27FC236}">
                  <a16:creationId xmlns:a16="http://schemas.microsoft.com/office/drawing/2014/main" id="{F3BD8B50-89E8-30EA-F089-17199C3C25DF}"/>
                </a:ext>
              </a:extLst>
            </p:cNvPr>
            <p:cNvSpPr/>
            <p:nvPr/>
          </p:nvSpPr>
          <p:spPr>
            <a:xfrm>
              <a:off x="670560" y="3627120"/>
              <a:ext cx="45719" cy="45720"/>
            </a:xfrm>
            <a:prstGeom prst="ellipse">
              <a:avLst/>
            </a:prstGeom>
            <a:solidFill>
              <a:srgbClr val="29D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56862562-053A-7063-61EC-18CC60ECE0AF}"/>
                </a:ext>
              </a:extLst>
            </p:cNvPr>
            <p:cNvSpPr txBox="1"/>
            <p:nvPr/>
          </p:nvSpPr>
          <p:spPr>
            <a:xfrm>
              <a:off x="798007" y="3531601"/>
              <a:ext cx="922020" cy="261610"/>
            </a:xfrm>
            <a:prstGeom prst="rect">
              <a:avLst/>
            </a:prstGeom>
            <a:noFill/>
          </p:spPr>
          <p:txBody>
            <a:bodyPr wrap="square" rtlCol="0">
              <a:spAutoFit/>
            </a:bodyPr>
            <a:lstStyle/>
            <a:p>
              <a:r>
                <a:rPr lang="en-US" sz="1100" dirty="0"/>
                <a:t>Data</a:t>
              </a:r>
            </a:p>
          </p:txBody>
        </p:sp>
        <p:cxnSp>
          <p:nvCxnSpPr>
            <p:cNvPr id="14" name="Straight Connector 13">
              <a:extLst>
                <a:ext uri="{FF2B5EF4-FFF2-40B4-BE49-F238E27FC236}">
                  <a16:creationId xmlns:a16="http://schemas.microsoft.com/office/drawing/2014/main" id="{2A516FE2-C2A4-35D8-0629-CF5E9320825B}"/>
                </a:ext>
              </a:extLst>
            </p:cNvPr>
            <p:cNvCxnSpPr>
              <a:cxnSpLocks/>
            </p:cNvCxnSpPr>
            <p:nvPr/>
          </p:nvCxnSpPr>
          <p:spPr>
            <a:xfrm>
              <a:off x="670560" y="3496240"/>
              <a:ext cx="131444" cy="0"/>
            </a:xfrm>
            <a:prstGeom prst="line">
              <a:avLst/>
            </a:prstGeom>
          </p:spPr>
          <p:style>
            <a:lnRef idx="3">
              <a:schemeClr val="accent2"/>
            </a:lnRef>
            <a:fillRef idx="0">
              <a:schemeClr val="accent2"/>
            </a:fillRef>
            <a:effectRef idx="2">
              <a:schemeClr val="accent2"/>
            </a:effectRef>
            <a:fontRef idx="minor">
              <a:schemeClr val="tx1"/>
            </a:fontRef>
          </p:style>
        </p:cxnSp>
        <p:sp>
          <p:nvSpPr>
            <p:cNvPr id="21" name="TextBox 20">
              <a:extLst>
                <a:ext uri="{FF2B5EF4-FFF2-40B4-BE49-F238E27FC236}">
                  <a16:creationId xmlns:a16="http://schemas.microsoft.com/office/drawing/2014/main" id="{780C03C1-1CC4-C16E-449A-6334E392026A}"/>
                </a:ext>
              </a:extLst>
            </p:cNvPr>
            <p:cNvSpPr txBox="1"/>
            <p:nvPr/>
          </p:nvSpPr>
          <p:spPr>
            <a:xfrm>
              <a:off x="798007" y="3356207"/>
              <a:ext cx="646070" cy="261610"/>
            </a:xfrm>
            <a:prstGeom prst="rect">
              <a:avLst/>
            </a:prstGeom>
            <a:noFill/>
          </p:spPr>
          <p:txBody>
            <a:bodyPr wrap="square" rtlCol="0">
              <a:spAutoFit/>
            </a:bodyPr>
            <a:lstStyle/>
            <a:p>
              <a:r>
                <a:rPr lang="en-US" sz="1100" dirty="0"/>
                <a:t>Model</a:t>
              </a:r>
            </a:p>
          </p:txBody>
        </p:sp>
        <p:sp>
          <p:nvSpPr>
            <p:cNvPr id="22" name="Rectangle 21">
              <a:extLst>
                <a:ext uri="{FF2B5EF4-FFF2-40B4-BE49-F238E27FC236}">
                  <a16:creationId xmlns:a16="http://schemas.microsoft.com/office/drawing/2014/main" id="{AB688B3E-422A-7B07-08A6-658165A7B4B3}"/>
                </a:ext>
              </a:extLst>
            </p:cNvPr>
            <p:cNvSpPr/>
            <p:nvPr/>
          </p:nvSpPr>
          <p:spPr>
            <a:xfrm>
              <a:off x="526740" y="3384728"/>
              <a:ext cx="917337" cy="4000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9" name="Straight Arrow Connector 18">
            <a:extLst>
              <a:ext uri="{FF2B5EF4-FFF2-40B4-BE49-F238E27FC236}">
                <a16:creationId xmlns:a16="http://schemas.microsoft.com/office/drawing/2014/main" id="{FAE4D339-4943-B0AD-4549-6AC9D471558B}"/>
              </a:ext>
            </a:extLst>
          </p:cNvPr>
          <p:cNvCxnSpPr>
            <a:cxnSpLocks/>
          </p:cNvCxnSpPr>
          <p:nvPr/>
        </p:nvCxnSpPr>
        <p:spPr>
          <a:xfrm flipH="1" flipV="1">
            <a:off x="2695767" y="2981042"/>
            <a:ext cx="68725" cy="7604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7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strVal val="#ppt_w*0.70"/>
                                          </p:val>
                                        </p:tav>
                                        <p:tav tm="100000">
                                          <p:val>
                                            <p:strVal val="#ppt_w"/>
                                          </p:val>
                                        </p:tav>
                                      </p:tavLst>
                                    </p:anim>
                                    <p:anim calcmode="lin" valueType="num">
                                      <p:cBhvr>
                                        <p:cTn id="8" dur="1000" fill="hold"/>
                                        <p:tgtEl>
                                          <p:spTgt spid="3"/>
                                        </p:tgtEl>
                                        <p:attrNameLst>
                                          <p:attrName>ppt_h</p:attrName>
                                        </p:attrNameLst>
                                      </p:cBhvr>
                                      <p:tavLst>
                                        <p:tav tm="0">
                                          <p:val>
                                            <p:strVal val="#ppt_h"/>
                                          </p:val>
                                        </p:tav>
                                        <p:tav tm="100000">
                                          <p:val>
                                            <p:strVal val="#ppt_h"/>
                                          </p:val>
                                        </p:tav>
                                      </p:tavLst>
                                    </p:anim>
                                    <p:animEffect transition="in" filter="fade">
                                      <p:cBhvr>
                                        <p:cTn id="9"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03365" y="273531"/>
            <a:ext cx="10799664" cy="865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ML Model Results : Average Relative Humidity</a:t>
            </a:r>
          </a:p>
        </p:txBody>
      </p:sp>
      <p:pic>
        <p:nvPicPr>
          <p:cNvPr id="3" name="Picture 2">
            <a:extLst>
              <a:ext uri="{FF2B5EF4-FFF2-40B4-BE49-F238E27FC236}">
                <a16:creationId xmlns:a16="http://schemas.microsoft.com/office/drawing/2014/main" id="{72FDB37B-E1DB-C812-CAB0-7BE1829D14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86895" y="2217129"/>
            <a:ext cx="3659149" cy="2678073"/>
          </a:xfrm>
          <a:prstGeom prst="rect">
            <a:avLst/>
          </a:prstGeom>
        </p:spPr>
      </p:pic>
      <p:pic>
        <p:nvPicPr>
          <p:cNvPr id="6" name="Picture 5">
            <a:extLst>
              <a:ext uri="{FF2B5EF4-FFF2-40B4-BE49-F238E27FC236}">
                <a16:creationId xmlns:a16="http://schemas.microsoft.com/office/drawing/2014/main" id="{B09638A6-6111-A6EC-914F-C98B17862DE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27904" y="2210577"/>
            <a:ext cx="3698504" cy="2724020"/>
          </a:xfrm>
          <a:prstGeom prst="rect">
            <a:avLst/>
          </a:prstGeom>
        </p:spPr>
      </p:pic>
      <p:pic>
        <p:nvPicPr>
          <p:cNvPr id="8" name="Picture 7">
            <a:extLst>
              <a:ext uri="{FF2B5EF4-FFF2-40B4-BE49-F238E27FC236}">
                <a16:creationId xmlns:a16="http://schemas.microsoft.com/office/drawing/2014/main" id="{1F7DC9F6-9984-9A8A-6C84-FC2CCC04B58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62584" y="2177616"/>
            <a:ext cx="3704741" cy="2721664"/>
          </a:xfrm>
          <a:prstGeom prst="rect">
            <a:avLst/>
          </a:prstGeom>
        </p:spPr>
      </p:pic>
      <p:sp>
        <p:nvSpPr>
          <p:cNvPr id="19" name="TextBox 18">
            <a:extLst>
              <a:ext uri="{FF2B5EF4-FFF2-40B4-BE49-F238E27FC236}">
                <a16:creationId xmlns:a16="http://schemas.microsoft.com/office/drawing/2014/main" id="{688695E6-03F4-CEE4-56E6-1BA85F5F2FA3}"/>
              </a:ext>
            </a:extLst>
          </p:cNvPr>
          <p:cNvSpPr txBox="1"/>
          <p:nvPr/>
        </p:nvSpPr>
        <p:spPr>
          <a:xfrm>
            <a:off x="643354" y="5317235"/>
            <a:ext cx="2743200" cy="830997"/>
          </a:xfrm>
          <a:prstGeom prst="rect">
            <a:avLst/>
          </a:prstGeom>
          <a:noFill/>
        </p:spPr>
        <p:txBody>
          <a:bodyPr wrap="square" lIns="91440" tIns="45720" rIns="91440" bIns="45720" rtlCol="0" anchor="t">
            <a:spAutoFit/>
          </a:bodyPr>
          <a:lstStyle/>
          <a:p>
            <a:pPr algn="ctr"/>
            <a:r>
              <a:rPr lang="en-US" sz="1600" i="1">
                <a:latin typeface="Arial"/>
                <a:cs typeface="Arial"/>
              </a:rPr>
              <a:t>resampled ERA5 data (4km) vs </a:t>
            </a:r>
          </a:p>
          <a:p>
            <a:pPr algn="ctr"/>
            <a:r>
              <a:rPr lang="en-US" sz="1600" i="1">
                <a:latin typeface="Arial"/>
                <a:cs typeface="Arial"/>
              </a:rPr>
              <a:t>TWC Data (4km)</a:t>
            </a:r>
            <a:endParaRPr lang="en-US" sz="1600">
              <a:latin typeface="Arial"/>
              <a:cs typeface="Arial"/>
            </a:endParaRPr>
          </a:p>
        </p:txBody>
      </p:sp>
      <p:sp>
        <p:nvSpPr>
          <p:cNvPr id="2" name="Slide Number Placeholder 1">
            <a:extLst>
              <a:ext uri="{FF2B5EF4-FFF2-40B4-BE49-F238E27FC236}">
                <a16:creationId xmlns:a16="http://schemas.microsoft.com/office/drawing/2014/main" id="{E6BEB49A-2464-E7CC-0559-7A1ACBF185C0}"/>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5</a:t>
            </a:fld>
            <a:endParaRPr lang="en-US" noProof="0">
              <a:latin typeface="Arial"/>
              <a:cs typeface="Arial"/>
            </a:endParaRPr>
          </a:p>
        </p:txBody>
      </p:sp>
      <p:sp>
        <p:nvSpPr>
          <p:cNvPr id="4" name="TextBox 3">
            <a:extLst>
              <a:ext uri="{FF2B5EF4-FFF2-40B4-BE49-F238E27FC236}">
                <a16:creationId xmlns:a16="http://schemas.microsoft.com/office/drawing/2014/main" id="{B4EACCC8-A0AE-2AB6-B07C-62D44ABA8828}"/>
              </a:ext>
            </a:extLst>
          </p:cNvPr>
          <p:cNvSpPr txBox="1"/>
          <p:nvPr/>
        </p:nvSpPr>
        <p:spPr>
          <a:xfrm>
            <a:off x="803365" y="1143321"/>
            <a:ext cx="10191565" cy="646331"/>
          </a:xfrm>
          <a:prstGeom prst="rect">
            <a:avLst/>
          </a:prstGeom>
          <a:noFill/>
        </p:spPr>
        <p:txBody>
          <a:bodyPr wrap="square" lIns="91440" tIns="45720" rIns="91440" bIns="45720" rtlCol="0" anchor="t">
            <a:spAutoFit/>
          </a:bodyPr>
          <a:lstStyle/>
          <a:p>
            <a:r>
              <a:rPr lang="en-US">
                <a:latin typeface="Arial"/>
                <a:cs typeface="Arial"/>
              </a:rPr>
              <a:t>ML model (GOSS) interpolated Average Relative Humidity has increased R</a:t>
            </a:r>
            <a:r>
              <a:rPr lang="en-US" baseline="30000">
                <a:latin typeface="Arial"/>
                <a:cs typeface="Arial"/>
              </a:rPr>
              <a:t>2 </a:t>
            </a:r>
            <a:r>
              <a:rPr lang="en-US">
                <a:latin typeface="Arial"/>
                <a:cs typeface="Arial"/>
              </a:rPr>
              <a:t>score with observed data in both train and test set.</a:t>
            </a:r>
            <a:r>
              <a:rPr lang="en-US" baseline="30000">
                <a:latin typeface="Arial"/>
                <a:cs typeface="Arial"/>
              </a:rPr>
              <a:t> </a:t>
            </a:r>
          </a:p>
        </p:txBody>
      </p:sp>
      <p:sp>
        <p:nvSpPr>
          <p:cNvPr id="5" name="TextBox 4">
            <a:extLst>
              <a:ext uri="{FF2B5EF4-FFF2-40B4-BE49-F238E27FC236}">
                <a16:creationId xmlns:a16="http://schemas.microsoft.com/office/drawing/2014/main" id="{2C4B97AD-3481-D64C-B324-757BD5800ED7}"/>
              </a:ext>
            </a:extLst>
          </p:cNvPr>
          <p:cNvSpPr txBox="1"/>
          <p:nvPr/>
        </p:nvSpPr>
        <p:spPr>
          <a:xfrm>
            <a:off x="4491037" y="5176070"/>
            <a:ext cx="3209925" cy="1077218"/>
          </a:xfrm>
          <a:prstGeom prst="rect">
            <a:avLst/>
          </a:prstGeom>
          <a:noFill/>
        </p:spPr>
        <p:txBody>
          <a:bodyPr wrap="square" lIns="91440" tIns="45720" rIns="91440" bIns="45720" rtlCol="0" anchor="t">
            <a:spAutoFit/>
          </a:bodyPr>
          <a:lstStyle/>
          <a:p>
            <a:pPr algn="ctr"/>
            <a:r>
              <a:rPr lang="en-US" sz="1600" i="1">
                <a:latin typeface="Arial"/>
                <a:cs typeface="Arial"/>
              </a:rPr>
              <a:t>model interpolated ERA5 data (4km) vs </a:t>
            </a:r>
          </a:p>
          <a:p>
            <a:pPr algn="ctr"/>
            <a:r>
              <a:rPr lang="en-US" sz="1600" i="1">
                <a:latin typeface="Arial"/>
                <a:cs typeface="Arial"/>
              </a:rPr>
              <a:t>TWC Data (4km)</a:t>
            </a:r>
          </a:p>
          <a:p>
            <a:pPr algn="ctr"/>
            <a:r>
              <a:rPr lang="en-US" sz="1600">
                <a:latin typeface="Arial"/>
                <a:cs typeface="Arial"/>
              </a:rPr>
              <a:t>(</a:t>
            </a:r>
            <a:r>
              <a:rPr lang="en-US" sz="1600">
                <a:solidFill>
                  <a:srgbClr val="7030A0"/>
                </a:solidFill>
                <a:latin typeface="Arial"/>
                <a:cs typeface="Arial"/>
              </a:rPr>
              <a:t>train</a:t>
            </a:r>
            <a:r>
              <a:rPr lang="en-US" sz="1600">
                <a:latin typeface="Arial"/>
                <a:cs typeface="Arial"/>
              </a:rPr>
              <a:t> set)</a:t>
            </a:r>
          </a:p>
        </p:txBody>
      </p:sp>
      <p:sp>
        <p:nvSpPr>
          <p:cNvPr id="7" name="TextBox 6">
            <a:extLst>
              <a:ext uri="{FF2B5EF4-FFF2-40B4-BE49-F238E27FC236}">
                <a16:creationId xmlns:a16="http://schemas.microsoft.com/office/drawing/2014/main" id="{FF569CC5-F4F5-11D1-7477-3BA17EB63AD1}"/>
              </a:ext>
            </a:extLst>
          </p:cNvPr>
          <p:cNvSpPr txBox="1"/>
          <p:nvPr/>
        </p:nvSpPr>
        <p:spPr>
          <a:xfrm>
            <a:off x="8441497" y="5176070"/>
            <a:ext cx="3324225" cy="1077218"/>
          </a:xfrm>
          <a:prstGeom prst="rect">
            <a:avLst/>
          </a:prstGeom>
          <a:noFill/>
        </p:spPr>
        <p:txBody>
          <a:bodyPr wrap="square" lIns="91440" tIns="45720" rIns="91440" bIns="45720" rtlCol="0" anchor="t">
            <a:spAutoFit/>
          </a:bodyPr>
          <a:lstStyle/>
          <a:p>
            <a:pPr algn="ctr"/>
            <a:r>
              <a:rPr lang="en-US" sz="1600" i="1">
                <a:latin typeface="Arial"/>
                <a:cs typeface="Arial"/>
              </a:rPr>
              <a:t>model interpolated ERA5 data (4km) vs </a:t>
            </a:r>
          </a:p>
          <a:p>
            <a:pPr algn="ctr"/>
            <a:r>
              <a:rPr lang="en-US" sz="1600" i="1">
                <a:latin typeface="Arial"/>
                <a:cs typeface="Arial"/>
              </a:rPr>
              <a:t>TWC Data (4km)</a:t>
            </a:r>
          </a:p>
          <a:p>
            <a:pPr algn="ctr"/>
            <a:r>
              <a:rPr lang="en-US" sz="1600">
                <a:latin typeface="Arial"/>
                <a:cs typeface="Arial"/>
              </a:rPr>
              <a:t>(</a:t>
            </a:r>
            <a:r>
              <a:rPr lang="en-US" sz="1600">
                <a:solidFill>
                  <a:schemeClr val="accent2">
                    <a:lumMod val="75000"/>
                  </a:schemeClr>
                </a:solidFill>
                <a:latin typeface="Arial"/>
                <a:cs typeface="Arial"/>
              </a:rPr>
              <a:t>test</a:t>
            </a:r>
            <a:r>
              <a:rPr lang="en-US" sz="1600">
                <a:latin typeface="Arial"/>
                <a:cs typeface="Arial"/>
              </a:rPr>
              <a:t> set)</a:t>
            </a:r>
          </a:p>
        </p:txBody>
      </p:sp>
      <p:sp>
        <p:nvSpPr>
          <p:cNvPr id="10" name="TextBox 9">
            <a:extLst>
              <a:ext uri="{FF2B5EF4-FFF2-40B4-BE49-F238E27FC236}">
                <a16:creationId xmlns:a16="http://schemas.microsoft.com/office/drawing/2014/main" id="{89F62B33-C92D-CA80-B773-7CF7B8562165}"/>
              </a:ext>
            </a:extLst>
          </p:cNvPr>
          <p:cNvSpPr txBox="1"/>
          <p:nvPr/>
        </p:nvSpPr>
        <p:spPr>
          <a:xfrm>
            <a:off x="741260" y="2313927"/>
            <a:ext cx="415265" cy="261610"/>
          </a:xfrm>
          <a:prstGeom prst="rect">
            <a:avLst/>
          </a:prstGeom>
          <a:solidFill>
            <a:schemeClr val="bg1"/>
          </a:solidFill>
        </p:spPr>
        <p:txBody>
          <a:bodyPr wrap="square" lIns="91440" tIns="45720" rIns="91440" bIns="45720" rtlCol="0" anchor="t">
            <a:spAutoFit/>
          </a:bodyPr>
          <a:lstStyle/>
          <a:p>
            <a:pPr algn="r"/>
            <a:r>
              <a:rPr lang="en-US" sz="1100">
                <a:latin typeface="Arial"/>
                <a:cs typeface="Arial"/>
              </a:rPr>
              <a:t>R</a:t>
            </a:r>
            <a:r>
              <a:rPr lang="en-US" sz="1100" baseline="30000">
                <a:latin typeface="Arial"/>
                <a:cs typeface="Arial"/>
              </a:rPr>
              <a:t>2</a:t>
            </a:r>
            <a:r>
              <a:rPr lang="en-US" sz="1100">
                <a:latin typeface="Arial"/>
                <a:cs typeface="Arial"/>
              </a:rPr>
              <a:t>:</a:t>
            </a:r>
          </a:p>
        </p:txBody>
      </p:sp>
      <p:sp>
        <p:nvSpPr>
          <p:cNvPr id="11" name="TextBox 10">
            <a:extLst>
              <a:ext uri="{FF2B5EF4-FFF2-40B4-BE49-F238E27FC236}">
                <a16:creationId xmlns:a16="http://schemas.microsoft.com/office/drawing/2014/main" id="{D0B5A9D1-BF3F-73D8-C3F1-1F35EF034257}"/>
              </a:ext>
            </a:extLst>
          </p:cNvPr>
          <p:cNvSpPr txBox="1"/>
          <p:nvPr/>
        </p:nvSpPr>
        <p:spPr>
          <a:xfrm>
            <a:off x="4710350" y="2328018"/>
            <a:ext cx="415265" cy="261610"/>
          </a:xfrm>
          <a:prstGeom prst="rect">
            <a:avLst/>
          </a:prstGeom>
          <a:solidFill>
            <a:schemeClr val="bg1"/>
          </a:solidFill>
        </p:spPr>
        <p:txBody>
          <a:bodyPr wrap="square" lIns="91440" tIns="45720" rIns="91440" bIns="45720" rtlCol="0" anchor="t">
            <a:spAutoFit/>
          </a:bodyPr>
          <a:lstStyle/>
          <a:p>
            <a:pPr algn="r"/>
            <a:r>
              <a:rPr lang="en-US" sz="1100">
                <a:latin typeface="Arial"/>
                <a:cs typeface="Arial"/>
              </a:rPr>
              <a:t>R</a:t>
            </a:r>
            <a:r>
              <a:rPr lang="en-US" sz="1100" baseline="30000">
                <a:latin typeface="Arial"/>
                <a:cs typeface="Arial"/>
              </a:rPr>
              <a:t>2</a:t>
            </a:r>
            <a:r>
              <a:rPr lang="en-US" sz="1100">
                <a:latin typeface="Arial"/>
                <a:cs typeface="Arial"/>
              </a:rPr>
              <a:t>:</a:t>
            </a:r>
          </a:p>
        </p:txBody>
      </p:sp>
      <p:sp>
        <p:nvSpPr>
          <p:cNvPr id="12" name="TextBox 11">
            <a:extLst>
              <a:ext uri="{FF2B5EF4-FFF2-40B4-BE49-F238E27FC236}">
                <a16:creationId xmlns:a16="http://schemas.microsoft.com/office/drawing/2014/main" id="{1C43CC01-EEB6-8A13-7031-48BEDC3B6F27}"/>
              </a:ext>
            </a:extLst>
          </p:cNvPr>
          <p:cNvSpPr txBox="1"/>
          <p:nvPr/>
        </p:nvSpPr>
        <p:spPr>
          <a:xfrm>
            <a:off x="8675391" y="2356953"/>
            <a:ext cx="415265" cy="261610"/>
          </a:xfrm>
          <a:prstGeom prst="rect">
            <a:avLst/>
          </a:prstGeom>
          <a:solidFill>
            <a:schemeClr val="bg1"/>
          </a:solidFill>
        </p:spPr>
        <p:txBody>
          <a:bodyPr wrap="square" lIns="91440" tIns="45720" rIns="91440" bIns="45720" rtlCol="0" anchor="t">
            <a:spAutoFit/>
          </a:bodyPr>
          <a:lstStyle/>
          <a:p>
            <a:pPr algn="r"/>
            <a:r>
              <a:rPr lang="en-US" sz="1100">
                <a:latin typeface="Arial"/>
                <a:cs typeface="Arial"/>
              </a:rPr>
              <a:t>R</a:t>
            </a:r>
            <a:r>
              <a:rPr lang="en-US" sz="1100" baseline="30000">
                <a:latin typeface="Arial"/>
                <a:cs typeface="Arial"/>
              </a:rPr>
              <a:t>2</a:t>
            </a:r>
            <a:r>
              <a:rPr lang="en-US" sz="1100">
                <a:latin typeface="Arial"/>
                <a:cs typeface="Arial"/>
              </a:rPr>
              <a:t>:</a:t>
            </a:r>
          </a:p>
        </p:txBody>
      </p:sp>
    </p:spTree>
    <p:extLst>
      <p:ext uri="{BB962C8B-B14F-4D97-AF65-F5344CB8AC3E}">
        <p14:creationId xmlns:p14="http://schemas.microsoft.com/office/powerpoint/2010/main" val="2208349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14664" y="226195"/>
            <a:ext cx="10562672" cy="11380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a:solidFill>
                  <a:schemeClr val="accent1">
                    <a:lumMod val="50000"/>
                  </a:schemeClr>
                </a:solidFill>
                <a:latin typeface="Arial"/>
                <a:cs typeface="Arial"/>
              </a:rPr>
              <a:t>Mapping Source and Modeled Data : Average Relative Humidity  </a:t>
            </a:r>
          </a:p>
        </p:txBody>
      </p:sp>
      <p:pic>
        <p:nvPicPr>
          <p:cNvPr id="3" name="Picture 2" descr="A screenshot of datas&#10;&#10;Description automatically generated">
            <a:extLst>
              <a:ext uri="{FF2B5EF4-FFF2-40B4-BE49-F238E27FC236}">
                <a16:creationId xmlns:a16="http://schemas.microsoft.com/office/drawing/2014/main" id="{16BBEA49-B7C7-2619-44DA-70CDEE7990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8208" y="2215009"/>
            <a:ext cx="8284187" cy="3493333"/>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6</a:t>
            </a:fld>
            <a:endParaRPr lang="en-US" noProof="0">
              <a:latin typeface="Arial"/>
              <a:cs typeface="Arial"/>
            </a:endParaRPr>
          </a:p>
        </p:txBody>
      </p:sp>
      <p:sp>
        <p:nvSpPr>
          <p:cNvPr id="4" name="TextBox 3">
            <a:extLst>
              <a:ext uri="{FF2B5EF4-FFF2-40B4-BE49-F238E27FC236}">
                <a16:creationId xmlns:a16="http://schemas.microsoft.com/office/drawing/2014/main" id="{17BD92E2-3887-479A-D757-38D7889A9875}"/>
              </a:ext>
            </a:extLst>
          </p:cNvPr>
          <p:cNvSpPr txBox="1"/>
          <p:nvPr/>
        </p:nvSpPr>
        <p:spPr>
          <a:xfrm>
            <a:off x="814664" y="1466594"/>
            <a:ext cx="10562672" cy="646331"/>
          </a:xfrm>
          <a:prstGeom prst="rect">
            <a:avLst/>
          </a:prstGeom>
          <a:noFill/>
        </p:spPr>
        <p:txBody>
          <a:bodyPr wrap="square" lIns="91440" tIns="45720" rIns="91440" bIns="45720" rtlCol="0" anchor="t">
            <a:spAutoFit/>
          </a:bodyPr>
          <a:lstStyle/>
          <a:p>
            <a:r>
              <a:rPr lang="en-US">
                <a:latin typeface="Arial"/>
                <a:cs typeface="Arial"/>
              </a:rPr>
              <a:t>Model interpolated high-resolution Average Relative Humidity</a:t>
            </a:r>
            <a:r>
              <a:rPr lang="en-US" b="1">
                <a:latin typeface="Arial"/>
                <a:cs typeface="Arial"/>
              </a:rPr>
              <a:t> </a:t>
            </a:r>
            <a:r>
              <a:rPr lang="en-US">
                <a:latin typeface="Arial"/>
                <a:cs typeface="Arial"/>
              </a:rPr>
              <a:t>data </a:t>
            </a:r>
            <a:r>
              <a:rPr lang="en-US" u="sng">
                <a:latin typeface="Arial"/>
                <a:cs typeface="Arial"/>
              </a:rPr>
              <a:t>has good spatial agreement</a:t>
            </a:r>
            <a:r>
              <a:rPr lang="en-US">
                <a:latin typeface="Arial"/>
                <a:cs typeface="Arial"/>
              </a:rPr>
              <a:t> with observed (TWC) high-resolution data.  </a:t>
            </a:r>
          </a:p>
        </p:txBody>
      </p:sp>
      <p:sp>
        <p:nvSpPr>
          <p:cNvPr id="5" name="Arrow: Down 4">
            <a:extLst>
              <a:ext uri="{FF2B5EF4-FFF2-40B4-BE49-F238E27FC236}">
                <a16:creationId xmlns:a16="http://schemas.microsoft.com/office/drawing/2014/main" id="{73EDB022-E7F0-BF1B-16F2-320F277AA1C1}"/>
              </a:ext>
            </a:extLst>
          </p:cNvPr>
          <p:cNvSpPr/>
          <p:nvPr/>
        </p:nvSpPr>
        <p:spPr>
          <a:xfrm>
            <a:off x="3246789" y="5703829"/>
            <a:ext cx="181411" cy="236325"/>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
        <p:nvSpPr>
          <p:cNvPr id="6" name="TextBox 5">
            <a:extLst>
              <a:ext uri="{FF2B5EF4-FFF2-40B4-BE49-F238E27FC236}">
                <a16:creationId xmlns:a16="http://schemas.microsoft.com/office/drawing/2014/main" id="{A46D0C84-66EB-F51F-FE84-7D1A99507361}"/>
              </a:ext>
            </a:extLst>
          </p:cNvPr>
          <p:cNvSpPr txBox="1"/>
          <p:nvPr/>
        </p:nvSpPr>
        <p:spPr>
          <a:xfrm>
            <a:off x="2272192" y="5995568"/>
            <a:ext cx="2130603" cy="338554"/>
          </a:xfrm>
          <a:prstGeom prst="rect">
            <a:avLst/>
          </a:prstGeom>
          <a:noFill/>
        </p:spPr>
        <p:txBody>
          <a:bodyPr wrap="square" lIns="91440" tIns="45720" rIns="91440" bIns="45720" rtlCol="0" anchor="t">
            <a:spAutoFit/>
          </a:bodyPr>
          <a:lstStyle/>
          <a:p>
            <a:pPr algn="ctr"/>
            <a:r>
              <a:rPr lang="en-US" sz="1600" i="1">
                <a:latin typeface="Arial"/>
                <a:cs typeface="Arial"/>
              </a:rPr>
              <a:t>Input Data (28 km)</a:t>
            </a:r>
          </a:p>
        </p:txBody>
      </p:sp>
      <p:sp>
        <p:nvSpPr>
          <p:cNvPr id="11" name="TextBox 10">
            <a:extLst>
              <a:ext uri="{FF2B5EF4-FFF2-40B4-BE49-F238E27FC236}">
                <a16:creationId xmlns:a16="http://schemas.microsoft.com/office/drawing/2014/main" id="{36E05499-4C8A-15E8-0646-ADD534019E9F}"/>
              </a:ext>
            </a:extLst>
          </p:cNvPr>
          <p:cNvSpPr txBox="1"/>
          <p:nvPr/>
        </p:nvSpPr>
        <p:spPr>
          <a:xfrm>
            <a:off x="7575119" y="5922704"/>
            <a:ext cx="2130603" cy="830997"/>
          </a:xfrm>
          <a:prstGeom prst="rect">
            <a:avLst/>
          </a:prstGeom>
          <a:noFill/>
        </p:spPr>
        <p:txBody>
          <a:bodyPr wrap="square" lIns="91440" tIns="45720" rIns="91440" bIns="45720" rtlCol="0" anchor="t">
            <a:spAutoFit/>
          </a:bodyPr>
          <a:lstStyle/>
          <a:p>
            <a:pPr algn="ctr"/>
            <a:r>
              <a:rPr lang="en-US" sz="1600" i="1">
                <a:solidFill>
                  <a:srgbClr val="00B0F0"/>
                </a:solidFill>
                <a:latin typeface="Arial"/>
                <a:cs typeface="Arial"/>
              </a:rPr>
              <a:t>Modeled Improved Resolution Data </a:t>
            </a:r>
            <a:endParaRPr lang="en-US"/>
          </a:p>
          <a:p>
            <a:pPr algn="ctr"/>
            <a:r>
              <a:rPr lang="en-US" sz="1600" i="1">
                <a:solidFill>
                  <a:srgbClr val="00B0F0"/>
                </a:solidFill>
                <a:latin typeface="Arial"/>
                <a:cs typeface="Arial"/>
              </a:rPr>
              <a:t>(4 km)</a:t>
            </a:r>
            <a:endParaRPr lang="en-US"/>
          </a:p>
        </p:txBody>
      </p:sp>
      <p:sp>
        <p:nvSpPr>
          <p:cNvPr id="12" name="Arrow: Down 11">
            <a:extLst>
              <a:ext uri="{FF2B5EF4-FFF2-40B4-BE49-F238E27FC236}">
                <a16:creationId xmlns:a16="http://schemas.microsoft.com/office/drawing/2014/main" id="{1C873AA9-C6B7-789B-ADC9-4470D44A69F7}"/>
              </a:ext>
            </a:extLst>
          </p:cNvPr>
          <p:cNvSpPr/>
          <p:nvPr/>
        </p:nvSpPr>
        <p:spPr>
          <a:xfrm>
            <a:off x="5769526" y="5703829"/>
            <a:ext cx="181411" cy="236325"/>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
        <p:nvSpPr>
          <p:cNvPr id="13" name="TextBox 12">
            <a:extLst>
              <a:ext uri="{FF2B5EF4-FFF2-40B4-BE49-F238E27FC236}">
                <a16:creationId xmlns:a16="http://schemas.microsoft.com/office/drawing/2014/main" id="{509B8E1A-BC5A-E524-8FE0-8FF1D3788A20}"/>
              </a:ext>
            </a:extLst>
          </p:cNvPr>
          <p:cNvSpPr txBox="1"/>
          <p:nvPr/>
        </p:nvSpPr>
        <p:spPr>
          <a:xfrm>
            <a:off x="4679743" y="5995568"/>
            <a:ext cx="2352114" cy="584775"/>
          </a:xfrm>
          <a:prstGeom prst="rect">
            <a:avLst/>
          </a:prstGeom>
          <a:noFill/>
        </p:spPr>
        <p:txBody>
          <a:bodyPr wrap="square" lIns="91440" tIns="45720" rIns="91440" bIns="45720" rtlCol="0" anchor="t">
            <a:spAutoFit/>
          </a:bodyPr>
          <a:lstStyle/>
          <a:p>
            <a:pPr algn="ctr"/>
            <a:r>
              <a:rPr lang="en-US" sz="1600" i="1">
                <a:latin typeface="Arial"/>
                <a:cs typeface="Arial"/>
              </a:rPr>
              <a:t>TWC (Training) Data </a:t>
            </a:r>
            <a:endParaRPr lang="en-US"/>
          </a:p>
          <a:p>
            <a:pPr algn="ctr"/>
            <a:r>
              <a:rPr lang="en-US" sz="1600" i="1">
                <a:latin typeface="Arial"/>
                <a:cs typeface="Arial"/>
              </a:rPr>
              <a:t>(4 km)</a:t>
            </a:r>
            <a:endParaRPr lang="en-US"/>
          </a:p>
        </p:txBody>
      </p:sp>
      <p:sp>
        <p:nvSpPr>
          <p:cNvPr id="14" name="Arrow: Down 13">
            <a:extLst>
              <a:ext uri="{FF2B5EF4-FFF2-40B4-BE49-F238E27FC236}">
                <a16:creationId xmlns:a16="http://schemas.microsoft.com/office/drawing/2014/main" id="{04F280DF-BB48-313E-469D-0D1472F053FB}"/>
              </a:ext>
            </a:extLst>
          </p:cNvPr>
          <p:cNvSpPr/>
          <p:nvPr/>
        </p:nvSpPr>
        <p:spPr>
          <a:xfrm>
            <a:off x="8549716" y="5703829"/>
            <a:ext cx="181411" cy="236325"/>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Tree>
    <p:extLst>
      <p:ext uri="{BB962C8B-B14F-4D97-AF65-F5344CB8AC3E}">
        <p14:creationId xmlns:p14="http://schemas.microsoft.com/office/powerpoint/2010/main" val="33215493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DL Model Results : Total Precipitation</a:t>
            </a:r>
          </a:p>
        </p:txBody>
      </p:sp>
      <p:sp>
        <p:nvSpPr>
          <p:cNvPr id="10" name="TextBox 9">
            <a:extLst>
              <a:ext uri="{FF2B5EF4-FFF2-40B4-BE49-F238E27FC236}">
                <a16:creationId xmlns:a16="http://schemas.microsoft.com/office/drawing/2014/main" id="{DDD763E9-CE6D-7E6C-735D-E01DF9793F16}"/>
              </a:ext>
            </a:extLst>
          </p:cNvPr>
          <p:cNvSpPr txBox="1"/>
          <p:nvPr/>
        </p:nvSpPr>
        <p:spPr>
          <a:xfrm>
            <a:off x="890629" y="1244459"/>
            <a:ext cx="10510795" cy="838948"/>
          </a:xfrm>
          <a:prstGeom prst="rect">
            <a:avLst/>
          </a:prstGeom>
          <a:noFill/>
        </p:spPr>
        <p:txBody>
          <a:bodyPr wrap="square" lIns="91440" tIns="45720" rIns="91440" bIns="45720" rtlCol="0" anchor="t">
            <a:spAutoFit/>
          </a:bodyPr>
          <a:lstStyle/>
          <a:p>
            <a:pPr marL="285750" indent="-285750">
              <a:lnSpc>
                <a:spcPct val="150000"/>
              </a:lnSpc>
              <a:buFont typeface="Wingdings" panose="05000000000000000000" pitchFamily="2" charset="2"/>
              <a:buChar char="q"/>
            </a:pPr>
            <a:r>
              <a:rPr lang="en-US" b="1">
                <a:latin typeface="Arial"/>
                <a:cs typeface="Arial"/>
              </a:rPr>
              <a:t>Multi-Layered Perceptron (MLP) </a:t>
            </a:r>
            <a:r>
              <a:rPr lang="en-US" sz="1600">
                <a:latin typeface="Arial"/>
                <a:cs typeface="Arial"/>
              </a:rPr>
              <a:t>Deep Learning model overcomes overfitting to some extent.</a:t>
            </a:r>
          </a:p>
          <a:p>
            <a:pPr marL="285750" indent="-285750">
              <a:lnSpc>
                <a:spcPct val="150000"/>
              </a:lnSpc>
              <a:buFont typeface="Wingdings" panose="05000000000000000000" pitchFamily="2" charset="2"/>
              <a:buChar char="q"/>
            </a:pPr>
            <a:r>
              <a:rPr lang="en-US" sz="1600">
                <a:latin typeface="Arial"/>
                <a:cs typeface="Arial"/>
              </a:rPr>
              <a:t>Model performance </a:t>
            </a:r>
            <a:r>
              <a:rPr lang="en-US" sz="1600">
                <a:solidFill>
                  <a:srgbClr val="FF0000"/>
                </a:solidFill>
                <a:latin typeface="Arial"/>
                <a:cs typeface="Arial"/>
              </a:rPr>
              <a:t>doesn’t</a:t>
            </a:r>
            <a:r>
              <a:rPr lang="en-US" sz="1600">
                <a:latin typeface="Arial"/>
                <a:cs typeface="Arial"/>
              </a:rPr>
              <a:t> improve.</a:t>
            </a:r>
          </a:p>
        </p:txBody>
      </p:sp>
      <p:sp>
        <p:nvSpPr>
          <p:cNvPr id="2" name="Slide Number Placeholder 1">
            <a:extLst>
              <a:ext uri="{FF2B5EF4-FFF2-40B4-BE49-F238E27FC236}">
                <a16:creationId xmlns:a16="http://schemas.microsoft.com/office/drawing/2014/main" id="{1C82C6A7-0B60-5904-7191-52D87BAE4CAA}"/>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7</a:t>
            </a:fld>
            <a:endParaRPr lang="en-US" noProof="0">
              <a:latin typeface="Arial"/>
              <a:cs typeface="Arial"/>
            </a:endParaRPr>
          </a:p>
        </p:txBody>
      </p:sp>
      <p:pic>
        <p:nvPicPr>
          <p:cNvPr id="3" name="Picture 2">
            <a:extLst>
              <a:ext uri="{FF2B5EF4-FFF2-40B4-BE49-F238E27FC236}">
                <a16:creationId xmlns:a16="http://schemas.microsoft.com/office/drawing/2014/main" id="{55F34D01-6534-BB1B-5C22-2FAC3A80633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47532" y="2498978"/>
            <a:ext cx="3518678" cy="2595675"/>
          </a:xfrm>
          <a:prstGeom prst="rect">
            <a:avLst/>
          </a:prstGeom>
        </p:spPr>
      </p:pic>
      <p:pic>
        <p:nvPicPr>
          <p:cNvPr id="4" name="Picture 3">
            <a:extLst>
              <a:ext uri="{FF2B5EF4-FFF2-40B4-BE49-F238E27FC236}">
                <a16:creationId xmlns:a16="http://schemas.microsoft.com/office/drawing/2014/main" id="{3730187A-DDEF-53A2-3532-E1B080B668E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335933" y="2506914"/>
            <a:ext cx="3520133" cy="2592647"/>
          </a:xfrm>
          <a:prstGeom prst="rect">
            <a:avLst/>
          </a:prstGeom>
        </p:spPr>
      </p:pic>
      <p:pic>
        <p:nvPicPr>
          <p:cNvPr id="6" name="Picture 5">
            <a:extLst>
              <a:ext uri="{FF2B5EF4-FFF2-40B4-BE49-F238E27FC236}">
                <a16:creationId xmlns:a16="http://schemas.microsoft.com/office/drawing/2014/main" id="{048B83B6-90B2-6A56-2877-709E60CB0B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2504" y="2496141"/>
            <a:ext cx="3550031" cy="2614193"/>
          </a:xfrm>
          <a:prstGeom prst="rect">
            <a:avLst/>
          </a:prstGeom>
        </p:spPr>
      </p:pic>
      <p:sp>
        <p:nvSpPr>
          <p:cNvPr id="15" name="TextBox 14">
            <a:extLst>
              <a:ext uri="{FF2B5EF4-FFF2-40B4-BE49-F238E27FC236}">
                <a16:creationId xmlns:a16="http://schemas.microsoft.com/office/drawing/2014/main" id="{284698FD-408B-BDA8-0B46-03D08E09360F}"/>
              </a:ext>
            </a:extLst>
          </p:cNvPr>
          <p:cNvSpPr txBox="1"/>
          <p:nvPr/>
        </p:nvSpPr>
        <p:spPr>
          <a:xfrm>
            <a:off x="1038360" y="5201382"/>
            <a:ext cx="2743200" cy="523220"/>
          </a:xfrm>
          <a:prstGeom prst="rect">
            <a:avLst/>
          </a:prstGeom>
          <a:noFill/>
        </p:spPr>
        <p:txBody>
          <a:bodyPr wrap="square" lIns="91440" tIns="45720" rIns="91440" bIns="45720" rtlCol="0" anchor="t">
            <a:spAutoFit/>
          </a:bodyPr>
          <a:lstStyle/>
          <a:p>
            <a:pPr algn="ctr"/>
            <a:r>
              <a:rPr lang="en-US" sz="1400" i="1">
                <a:latin typeface="Arial"/>
                <a:cs typeface="Arial"/>
              </a:rPr>
              <a:t>resampled ERA5 data (4km) vs </a:t>
            </a:r>
          </a:p>
          <a:p>
            <a:pPr algn="ctr"/>
            <a:r>
              <a:rPr lang="en-US" sz="1400" i="1">
                <a:latin typeface="Arial"/>
                <a:cs typeface="Arial"/>
              </a:rPr>
              <a:t>TWC Data (4km)</a:t>
            </a:r>
            <a:endParaRPr lang="en-US" sz="1400">
              <a:latin typeface="Arial"/>
              <a:cs typeface="Arial"/>
            </a:endParaRPr>
          </a:p>
        </p:txBody>
      </p:sp>
      <p:sp>
        <p:nvSpPr>
          <p:cNvPr id="16" name="TextBox 15">
            <a:extLst>
              <a:ext uri="{FF2B5EF4-FFF2-40B4-BE49-F238E27FC236}">
                <a16:creationId xmlns:a16="http://schemas.microsoft.com/office/drawing/2014/main" id="{8ECD6CE6-69D3-78B9-8E18-25AD59E4A71B}"/>
              </a:ext>
            </a:extLst>
          </p:cNvPr>
          <p:cNvSpPr txBox="1"/>
          <p:nvPr/>
        </p:nvSpPr>
        <p:spPr>
          <a:xfrm>
            <a:off x="4661142" y="5175221"/>
            <a:ext cx="3209925" cy="954107"/>
          </a:xfrm>
          <a:prstGeom prst="rect">
            <a:avLst/>
          </a:prstGeom>
          <a:noFill/>
        </p:spPr>
        <p:txBody>
          <a:bodyPr wrap="square" lIns="91440" tIns="45720" rIns="91440" bIns="45720" rtlCol="0" anchor="t">
            <a:spAutoFit/>
          </a:bodyPr>
          <a:lstStyle/>
          <a:p>
            <a:pPr algn="ctr"/>
            <a:r>
              <a:rPr lang="en-US" sz="1400" i="1">
                <a:latin typeface="Arial"/>
                <a:cs typeface="Arial"/>
              </a:rPr>
              <a:t>model interpolated ERA5 data (4km) vs </a:t>
            </a:r>
          </a:p>
          <a:p>
            <a:pPr algn="ctr"/>
            <a:r>
              <a:rPr lang="en-US" sz="1400" i="1">
                <a:latin typeface="Arial"/>
                <a:cs typeface="Arial"/>
              </a:rPr>
              <a:t>TWC Data (4km)</a:t>
            </a:r>
          </a:p>
          <a:p>
            <a:pPr algn="ctr"/>
            <a:r>
              <a:rPr lang="en-US" sz="1400">
                <a:latin typeface="Arial"/>
                <a:cs typeface="Arial"/>
              </a:rPr>
              <a:t>(</a:t>
            </a:r>
            <a:r>
              <a:rPr lang="en-US" sz="1400">
                <a:solidFill>
                  <a:srgbClr val="7030A0"/>
                </a:solidFill>
                <a:latin typeface="Arial"/>
                <a:cs typeface="Arial"/>
              </a:rPr>
              <a:t>train</a:t>
            </a:r>
            <a:r>
              <a:rPr lang="en-US" sz="1400">
                <a:latin typeface="Arial"/>
                <a:cs typeface="Arial"/>
              </a:rPr>
              <a:t> set)</a:t>
            </a:r>
          </a:p>
        </p:txBody>
      </p:sp>
      <p:sp>
        <p:nvSpPr>
          <p:cNvPr id="17" name="TextBox 16">
            <a:extLst>
              <a:ext uri="{FF2B5EF4-FFF2-40B4-BE49-F238E27FC236}">
                <a16:creationId xmlns:a16="http://schemas.microsoft.com/office/drawing/2014/main" id="{4A85A3A9-4CA3-0AC7-5AC0-EFA7296F9A6B}"/>
              </a:ext>
            </a:extLst>
          </p:cNvPr>
          <p:cNvSpPr txBox="1"/>
          <p:nvPr/>
        </p:nvSpPr>
        <p:spPr>
          <a:xfrm>
            <a:off x="8400260" y="5175221"/>
            <a:ext cx="3324225" cy="954107"/>
          </a:xfrm>
          <a:prstGeom prst="rect">
            <a:avLst/>
          </a:prstGeom>
          <a:noFill/>
        </p:spPr>
        <p:txBody>
          <a:bodyPr wrap="square" lIns="91440" tIns="45720" rIns="91440" bIns="45720" rtlCol="0" anchor="t">
            <a:spAutoFit/>
          </a:bodyPr>
          <a:lstStyle/>
          <a:p>
            <a:pPr algn="ctr"/>
            <a:r>
              <a:rPr lang="en-US" sz="1400" i="1">
                <a:latin typeface="Arial"/>
                <a:cs typeface="Arial"/>
              </a:rPr>
              <a:t>model interpolated ERA5 data (4km) vs </a:t>
            </a:r>
          </a:p>
          <a:p>
            <a:pPr algn="ctr"/>
            <a:r>
              <a:rPr lang="en-US" sz="1400" i="1">
                <a:latin typeface="Arial"/>
                <a:cs typeface="Arial"/>
              </a:rPr>
              <a:t>TWC Data (4km)</a:t>
            </a:r>
          </a:p>
          <a:p>
            <a:pPr algn="ctr"/>
            <a:r>
              <a:rPr lang="en-US" sz="1400">
                <a:latin typeface="Arial"/>
                <a:cs typeface="Arial"/>
              </a:rPr>
              <a:t>(</a:t>
            </a:r>
            <a:r>
              <a:rPr lang="en-US" sz="1400">
                <a:solidFill>
                  <a:schemeClr val="accent2">
                    <a:lumMod val="75000"/>
                  </a:schemeClr>
                </a:solidFill>
                <a:latin typeface="Arial"/>
                <a:cs typeface="Arial"/>
              </a:rPr>
              <a:t>test</a:t>
            </a:r>
            <a:r>
              <a:rPr lang="en-US" sz="1400">
                <a:latin typeface="Arial"/>
                <a:cs typeface="Arial"/>
              </a:rPr>
              <a:t> set)</a:t>
            </a:r>
          </a:p>
        </p:txBody>
      </p:sp>
      <p:sp>
        <p:nvSpPr>
          <p:cNvPr id="5" name="TextBox 4">
            <a:extLst>
              <a:ext uri="{FF2B5EF4-FFF2-40B4-BE49-F238E27FC236}">
                <a16:creationId xmlns:a16="http://schemas.microsoft.com/office/drawing/2014/main" id="{3AC0F889-BED4-C74B-8469-EEF1A8DA53E0}"/>
              </a:ext>
            </a:extLst>
          </p:cNvPr>
          <p:cNvSpPr txBox="1"/>
          <p:nvPr/>
        </p:nvSpPr>
        <p:spPr>
          <a:xfrm>
            <a:off x="1000260" y="2600705"/>
            <a:ext cx="415265" cy="261610"/>
          </a:xfrm>
          <a:prstGeom prst="rect">
            <a:avLst/>
          </a:prstGeom>
          <a:solidFill>
            <a:schemeClr val="bg1"/>
          </a:solidFill>
        </p:spPr>
        <p:txBody>
          <a:bodyPr wrap="square" lIns="91440" tIns="45720" rIns="91440" bIns="45720" rtlCol="0" anchor="t">
            <a:spAutoFit/>
          </a:bodyPr>
          <a:lstStyle/>
          <a:p>
            <a:pPr algn="r"/>
            <a:r>
              <a:rPr lang="en-US" sz="1100">
                <a:latin typeface="Arial"/>
                <a:cs typeface="Arial"/>
              </a:rPr>
              <a:t>R</a:t>
            </a:r>
            <a:r>
              <a:rPr lang="en-US" sz="1100" baseline="30000">
                <a:latin typeface="Arial"/>
                <a:cs typeface="Arial"/>
              </a:rPr>
              <a:t>2</a:t>
            </a:r>
            <a:r>
              <a:rPr lang="en-US" sz="1100">
                <a:latin typeface="Arial"/>
                <a:cs typeface="Arial"/>
              </a:rPr>
              <a:t>:</a:t>
            </a:r>
          </a:p>
        </p:txBody>
      </p:sp>
      <p:sp>
        <p:nvSpPr>
          <p:cNvPr id="7" name="TextBox 6">
            <a:extLst>
              <a:ext uri="{FF2B5EF4-FFF2-40B4-BE49-F238E27FC236}">
                <a16:creationId xmlns:a16="http://schemas.microsoft.com/office/drawing/2014/main" id="{E7D98BCB-75F7-D5E6-DBFC-7E8617B6E4CF}"/>
              </a:ext>
            </a:extLst>
          </p:cNvPr>
          <p:cNvSpPr txBox="1"/>
          <p:nvPr/>
        </p:nvSpPr>
        <p:spPr>
          <a:xfrm>
            <a:off x="4870049" y="2629598"/>
            <a:ext cx="415265" cy="261610"/>
          </a:xfrm>
          <a:prstGeom prst="rect">
            <a:avLst/>
          </a:prstGeom>
          <a:solidFill>
            <a:schemeClr val="bg1"/>
          </a:solidFill>
        </p:spPr>
        <p:txBody>
          <a:bodyPr wrap="square" lIns="91440" tIns="45720" rIns="91440" bIns="45720" rtlCol="0" anchor="t">
            <a:spAutoFit/>
          </a:bodyPr>
          <a:lstStyle/>
          <a:p>
            <a:pPr algn="r"/>
            <a:r>
              <a:rPr lang="en-US" sz="1100">
                <a:latin typeface="Arial"/>
                <a:cs typeface="Arial"/>
              </a:rPr>
              <a:t>R</a:t>
            </a:r>
            <a:r>
              <a:rPr lang="en-US" sz="1100" baseline="30000">
                <a:latin typeface="Arial"/>
                <a:cs typeface="Arial"/>
              </a:rPr>
              <a:t>2</a:t>
            </a:r>
            <a:r>
              <a:rPr lang="en-US" sz="1100">
                <a:latin typeface="Arial"/>
                <a:cs typeface="Arial"/>
              </a:rPr>
              <a:t>:</a:t>
            </a:r>
          </a:p>
        </p:txBody>
      </p:sp>
      <p:sp>
        <p:nvSpPr>
          <p:cNvPr id="8" name="TextBox 7">
            <a:extLst>
              <a:ext uri="{FF2B5EF4-FFF2-40B4-BE49-F238E27FC236}">
                <a16:creationId xmlns:a16="http://schemas.microsoft.com/office/drawing/2014/main" id="{7DF1818C-1117-E333-723F-871FC2937F8E}"/>
              </a:ext>
            </a:extLst>
          </p:cNvPr>
          <p:cNvSpPr txBox="1"/>
          <p:nvPr/>
        </p:nvSpPr>
        <p:spPr>
          <a:xfrm>
            <a:off x="8678551" y="2609883"/>
            <a:ext cx="415265" cy="261610"/>
          </a:xfrm>
          <a:prstGeom prst="rect">
            <a:avLst/>
          </a:prstGeom>
          <a:solidFill>
            <a:schemeClr val="bg1"/>
          </a:solidFill>
        </p:spPr>
        <p:txBody>
          <a:bodyPr wrap="square" lIns="91440" tIns="45720" rIns="91440" bIns="45720" rtlCol="0" anchor="t">
            <a:spAutoFit/>
          </a:bodyPr>
          <a:lstStyle/>
          <a:p>
            <a:pPr algn="r"/>
            <a:r>
              <a:rPr lang="en-US" sz="1100">
                <a:latin typeface="Arial"/>
                <a:cs typeface="Arial"/>
              </a:rPr>
              <a:t>R</a:t>
            </a:r>
            <a:r>
              <a:rPr lang="en-US" sz="1100" baseline="30000">
                <a:latin typeface="Arial"/>
                <a:cs typeface="Arial"/>
              </a:rPr>
              <a:t>2</a:t>
            </a:r>
            <a:r>
              <a:rPr lang="en-US" sz="1100">
                <a:latin typeface="Arial"/>
                <a:cs typeface="Arial"/>
              </a:rPr>
              <a:t>:</a:t>
            </a:r>
          </a:p>
        </p:txBody>
      </p:sp>
    </p:spTree>
    <p:extLst>
      <p:ext uri="{BB962C8B-B14F-4D97-AF65-F5344CB8AC3E}">
        <p14:creationId xmlns:p14="http://schemas.microsoft.com/office/powerpoint/2010/main" val="4153267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55569" y="260601"/>
            <a:ext cx="11176618" cy="1102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a:solidFill>
                  <a:schemeClr val="accent1">
                    <a:lumMod val="50000"/>
                  </a:schemeClr>
                </a:solidFill>
                <a:latin typeface="Arial"/>
                <a:cs typeface="Arial"/>
              </a:rPr>
              <a:t>Mapping Source and Modeled Data : Total Precipitation </a:t>
            </a:r>
          </a:p>
        </p:txBody>
      </p:sp>
      <p:pic>
        <p:nvPicPr>
          <p:cNvPr id="3" name="Picture 2">
            <a:extLst>
              <a:ext uri="{FF2B5EF4-FFF2-40B4-BE49-F238E27FC236}">
                <a16:creationId xmlns:a16="http://schemas.microsoft.com/office/drawing/2014/main" id="{16BBEA49-B7C7-2619-44DA-70CDEE7990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90106" y="2346009"/>
            <a:ext cx="8211787" cy="3567416"/>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18</a:t>
            </a:fld>
            <a:endParaRPr lang="en-US" noProof="0">
              <a:latin typeface="Arial"/>
              <a:cs typeface="Arial"/>
            </a:endParaRPr>
          </a:p>
        </p:txBody>
      </p:sp>
      <p:sp>
        <p:nvSpPr>
          <p:cNvPr id="4" name="TextBox 3">
            <a:extLst>
              <a:ext uri="{FF2B5EF4-FFF2-40B4-BE49-F238E27FC236}">
                <a16:creationId xmlns:a16="http://schemas.microsoft.com/office/drawing/2014/main" id="{7F5F4019-3D4B-8395-A8BB-840FAF1EA8B1}"/>
              </a:ext>
            </a:extLst>
          </p:cNvPr>
          <p:cNvSpPr txBox="1"/>
          <p:nvPr/>
        </p:nvSpPr>
        <p:spPr>
          <a:xfrm>
            <a:off x="1001095" y="1363178"/>
            <a:ext cx="10562672" cy="646331"/>
          </a:xfrm>
          <a:prstGeom prst="rect">
            <a:avLst/>
          </a:prstGeom>
          <a:noFill/>
        </p:spPr>
        <p:txBody>
          <a:bodyPr wrap="square" lIns="91440" tIns="45720" rIns="91440" bIns="45720" rtlCol="0" anchor="t">
            <a:spAutoFit/>
          </a:bodyPr>
          <a:lstStyle/>
          <a:p>
            <a:r>
              <a:rPr lang="en-US">
                <a:latin typeface="Arial"/>
                <a:cs typeface="Arial"/>
              </a:rPr>
              <a:t>Model interpolated high-resolution Total Precipitation</a:t>
            </a:r>
            <a:r>
              <a:rPr lang="en-US" b="1">
                <a:latin typeface="Arial"/>
                <a:cs typeface="Arial"/>
              </a:rPr>
              <a:t> </a:t>
            </a:r>
            <a:r>
              <a:rPr lang="en-US">
                <a:latin typeface="Arial"/>
                <a:cs typeface="Arial"/>
              </a:rPr>
              <a:t>data </a:t>
            </a:r>
            <a:r>
              <a:rPr lang="en-US">
                <a:solidFill>
                  <a:srgbClr val="FF0000"/>
                </a:solidFill>
                <a:latin typeface="Arial"/>
                <a:cs typeface="Arial"/>
              </a:rPr>
              <a:t>doesn’t have </a:t>
            </a:r>
            <a:r>
              <a:rPr lang="en-US">
                <a:latin typeface="Arial"/>
                <a:cs typeface="Arial"/>
              </a:rPr>
              <a:t>good spatial agreement with observed (TWC) high-resolution data.  </a:t>
            </a:r>
          </a:p>
        </p:txBody>
      </p:sp>
    </p:spTree>
    <p:extLst>
      <p:ext uri="{BB962C8B-B14F-4D97-AF65-F5344CB8AC3E}">
        <p14:creationId xmlns:p14="http://schemas.microsoft.com/office/powerpoint/2010/main" val="39322406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27825" y="2490341"/>
            <a:ext cx="10292420" cy="118772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600" b="1">
                <a:solidFill>
                  <a:srgbClr val="10384F"/>
                </a:solidFill>
                <a:latin typeface="Arial"/>
                <a:cs typeface="Arial"/>
              </a:rPr>
              <a:t>4.</a:t>
            </a:r>
            <a:r>
              <a:rPr lang="en-US" sz="3600" b="1" kern="1200">
                <a:solidFill>
                  <a:srgbClr val="10384F"/>
                </a:solidFill>
                <a:latin typeface="Arial"/>
                <a:cs typeface="Arial"/>
              </a:rPr>
              <a:t> Case Study: ARD in Environmental Clustering App</a:t>
            </a:r>
          </a:p>
        </p:txBody>
      </p:sp>
      <p:sp>
        <p:nvSpPr>
          <p:cNvPr id="2" name="Slide Number Placeholder 1">
            <a:extLst>
              <a:ext uri="{FF2B5EF4-FFF2-40B4-BE49-F238E27FC236}">
                <a16:creationId xmlns:a16="http://schemas.microsoft.com/office/drawing/2014/main" id="{0B89BDD2-F5DB-123F-BC6B-2CA2B8A70DAF}"/>
              </a:ext>
            </a:extLst>
          </p:cNvPr>
          <p:cNvSpPr>
            <a:spLocks noGrp="1"/>
          </p:cNvSpPr>
          <p:nvPr>
            <p:ph type="sldNum" sz="quarter" idx="12"/>
          </p:nvPr>
        </p:nvSpPr>
        <p:spPr/>
        <p:txBody>
          <a:bodyPr/>
          <a:lstStyle/>
          <a:p>
            <a:fld id="{EEAD9179-7A6B-4268-BEB2-F3B8EB06115B}" type="slidenum">
              <a:rPr lang="en-US" noProof="0" smtClean="0"/>
              <a:t>19</a:t>
            </a:fld>
            <a:endParaRPr lang="en-US" noProof="0"/>
          </a:p>
        </p:txBody>
      </p:sp>
      <p:cxnSp>
        <p:nvCxnSpPr>
          <p:cNvPr id="5" name="Straight Connector 4">
            <a:extLst>
              <a:ext uri="{FF2B5EF4-FFF2-40B4-BE49-F238E27FC236}">
                <a16:creationId xmlns:a16="http://schemas.microsoft.com/office/drawing/2014/main" id="{7626C8EE-8744-DAF9-3469-888CF3D8D275}"/>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4255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37438" y="37528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About Myself</a:t>
            </a:r>
          </a:p>
        </p:txBody>
      </p:sp>
      <p:sp>
        <p:nvSpPr>
          <p:cNvPr id="10" name="Subtitle 2">
            <a:extLst>
              <a:ext uri="{FF2B5EF4-FFF2-40B4-BE49-F238E27FC236}">
                <a16:creationId xmlns:a16="http://schemas.microsoft.com/office/drawing/2014/main" id="{F6E243F7-F258-1A63-610D-FF7CD8668613}"/>
              </a:ext>
            </a:extLst>
          </p:cNvPr>
          <p:cNvSpPr txBox="1">
            <a:spLocks/>
          </p:cNvSpPr>
          <p:nvPr/>
        </p:nvSpPr>
        <p:spPr>
          <a:xfrm>
            <a:off x="1037439" y="1174887"/>
            <a:ext cx="5268112" cy="4197213"/>
          </a:xfrm>
          <a:prstGeom prst="rect">
            <a:avLst/>
          </a:prstGeom>
        </p:spPr>
        <p:txBody>
          <a:bodyPr lIns="91440" tIns="45720" rIns="91440" bIns="4572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Arial"/>
                <a:cs typeface="Arial"/>
              </a:rPr>
              <a:t>Md Fahim Hasan</a:t>
            </a:r>
          </a:p>
          <a:p>
            <a:pPr marL="0" indent="0">
              <a:buNone/>
            </a:pPr>
            <a:r>
              <a:rPr lang="en-US" sz="1800" i="1">
                <a:latin typeface="Arial"/>
                <a:cs typeface="Arial"/>
              </a:rPr>
              <a:t>goes by </a:t>
            </a:r>
            <a:r>
              <a:rPr lang="en-US" sz="1800" b="1" i="1">
                <a:latin typeface="Arial"/>
                <a:cs typeface="Arial"/>
              </a:rPr>
              <a:t>Fahim</a:t>
            </a:r>
          </a:p>
          <a:p>
            <a:pPr marL="0" indent="0">
              <a:buNone/>
            </a:pPr>
            <a:endParaRPr lang="en-US" sz="1800">
              <a:latin typeface="Arial"/>
              <a:cs typeface="Arial"/>
            </a:endParaRPr>
          </a:p>
          <a:p>
            <a:pPr marL="0" indent="0">
              <a:buNone/>
            </a:pPr>
            <a:r>
              <a:rPr lang="en-US" sz="1800">
                <a:latin typeface="Arial"/>
                <a:cs typeface="Arial"/>
              </a:rPr>
              <a:t>PhD Student (1</a:t>
            </a:r>
            <a:r>
              <a:rPr lang="en-US" sz="1800" baseline="30000">
                <a:latin typeface="Arial"/>
                <a:cs typeface="Arial"/>
              </a:rPr>
              <a:t>st</a:t>
            </a:r>
            <a:r>
              <a:rPr lang="en-US" sz="1800">
                <a:latin typeface="Arial"/>
                <a:cs typeface="Arial"/>
              </a:rPr>
              <a:t> year)</a:t>
            </a:r>
          </a:p>
          <a:p>
            <a:pPr marL="0" indent="0">
              <a:buNone/>
            </a:pPr>
            <a:r>
              <a:rPr lang="en-US" sz="1800">
                <a:latin typeface="Arial"/>
                <a:cs typeface="Arial"/>
              </a:rPr>
              <a:t>Department of Civil Engineering</a:t>
            </a:r>
          </a:p>
          <a:p>
            <a:pPr marL="0" indent="0">
              <a:buNone/>
            </a:pPr>
            <a:r>
              <a:rPr lang="en-US" sz="1800">
                <a:latin typeface="Arial"/>
                <a:cs typeface="Arial"/>
              </a:rPr>
              <a:t>Colorado State University</a:t>
            </a:r>
          </a:p>
          <a:p>
            <a:pPr marL="0" indent="0">
              <a:buNone/>
            </a:pPr>
            <a:endParaRPr lang="en-US" sz="1800" b="1">
              <a:latin typeface="Arial"/>
              <a:cs typeface="Arial"/>
            </a:endParaRPr>
          </a:p>
          <a:p>
            <a:pPr marL="0" indent="0">
              <a:buNone/>
            </a:pPr>
            <a:r>
              <a:rPr lang="en-US" sz="1800" b="1">
                <a:latin typeface="Arial"/>
                <a:cs typeface="Arial"/>
              </a:rPr>
              <a:t>Research Focus:</a:t>
            </a:r>
          </a:p>
          <a:p>
            <a:pPr>
              <a:buFont typeface="Wingdings" panose="05000000000000000000" pitchFamily="2" charset="2"/>
              <a:buChar char="§"/>
            </a:pPr>
            <a:r>
              <a:rPr lang="en-US" sz="1800">
                <a:latin typeface="Arial"/>
                <a:cs typeface="Arial"/>
              </a:rPr>
              <a:t>irrigation</a:t>
            </a:r>
            <a:r>
              <a:rPr lang="en-US" sz="1800" b="1">
                <a:latin typeface="Arial"/>
                <a:cs typeface="Arial"/>
              </a:rPr>
              <a:t> </a:t>
            </a:r>
            <a:r>
              <a:rPr lang="en-US" sz="1800">
                <a:latin typeface="Arial"/>
                <a:cs typeface="Arial"/>
              </a:rPr>
              <a:t>groundwater</a:t>
            </a:r>
            <a:r>
              <a:rPr lang="en-US" sz="1800" b="1">
                <a:latin typeface="Arial"/>
                <a:cs typeface="Arial"/>
              </a:rPr>
              <a:t> </a:t>
            </a:r>
            <a:r>
              <a:rPr lang="en-US" sz="1800">
                <a:latin typeface="Arial"/>
                <a:cs typeface="Arial"/>
              </a:rPr>
              <a:t>quantification/monitoring </a:t>
            </a:r>
          </a:p>
          <a:p>
            <a:pPr lvl="1">
              <a:buFont typeface="Courier New" panose="02070309020205020404" pitchFamily="49" charset="0"/>
              <a:buChar char="o"/>
            </a:pPr>
            <a:r>
              <a:rPr lang="en-US" sz="1900" u="sng">
                <a:latin typeface="Arial"/>
                <a:cs typeface="Arial"/>
              </a:rPr>
              <a:t>satellite, weather</a:t>
            </a:r>
            <a:r>
              <a:rPr lang="en-US" sz="1900">
                <a:latin typeface="Arial"/>
                <a:cs typeface="Arial"/>
              </a:rPr>
              <a:t>, in-situ data</a:t>
            </a:r>
          </a:p>
          <a:p>
            <a:pPr lvl="1">
              <a:buFont typeface="Courier New" panose="02070309020205020404" pitchFamily="49" charset="0"/>
              <a:buChar char="o"/>
            </a:pPr>
            <a:r>
              <a:rPr lang="en-US" sz="1900" u="sng">
                <a:latin typeface="Arial"/>
                <a:cs typeface="Arial"/>
              </a:rPr>
              <a:t>machine/deep learning</a:t>
            </a:r>
            <a:endParaRPr lang="en-US" sz="1900" b="1" u="sng">
              <a:latin typeface="Arial"/>
              <a:cs typeface="Arial"/>
            </a:endParaRPr>
          </a:p>
          <a:p>
            <a:pPr>
              <a:buFont typeface="Wingdings" panose="05000000000000000000" pitchFamily="2" charset="2"/>
              <a:buChar char="§"/>
            </a:pPr>
            <a:r>
              <a:rPr lang="en-US" sz="1800">
                <a:latin typeface="Arial"/>
                <a:cs typeface="Arial"/>
              </a:rPr>
              <a:t>Groundwater modeling using processed-based models</a:t>
            </a:r>
          </a:p>
        </p:txBody>
      </p:sp>
      <p:pic>
        <p:nvPicPr>
          <p:cNvPr id="11" name="Picture 10" descr="A person in a green jacket&#10;&#10;Description automatically generated">
            <a:extLst>
              <a:ext uri="{FF2B5EF4-FFF2-40B4-BE49-F238E27FC236}">
                <a16:creationId xmlns:a16="http://schemas.microsoft.com/office/drawing/2014/main" id="{C71F36C9-62E2-BE13-D383-44EC0D0F1953}"/>
              </a:ext>
            </a:extLst>
          </p:cNvPr>
          <p:cNvPicPr>
            <a:picLocks noChangeAspect="1"/>
          </p:cNvPicPr>
          <p:nvPr/>
        </p:nvPicPr>
        <p:blipFill rotWithShape="1">
          <a:blip r:embed="rId2">
            <a:extLst>
              <a:ext uri="{28A0092B-C50C-407E-A947-70E740481C1C}">
                <a14:useLocalDpi xmlns:a14="http://schemas.microsoft.com/office/drawing/2010/main" val="0"/>
              </a:ext>
            </a:extLst>
          </a:blip>
          <a:srcRect l="7491" b="26123"/>
          <a:stretch/>
        </p:blipFill>
        <p:spPr>
          <a:xfrm>
            <a:off x="7043089" y="857184"/>
            <a:ext cx="4035197" cy="4296649"/>
          </a:xfrm>
          <a:prstGeom prst="rect">
            <a:avLst/>
          </a:prstGeom>
        </p:spPr>
      </p:pic>
      <p:sp>
        <p:nvSpPr>
          <p:cNvPr id="12" name="Subtitle 2">
            <a:extLst>
              <a:ext uri="{FF2B5EF4-FFF2-40B4-BE49-F238E27FC236}">
                <a16:creationId xmlns:a16="http://schemas.microsoft.com/office/drawing/2014/main" id="{4B44160A-35FD-F0D1-8CB5-8BC0B618E421}"/>
              </a:ext>
            </a:extLst>
          </p:cNvPr>
          <p:cNvSpPr txBox="1">
            <a:spLocks/>
          </p:cNvSpPr>
          <p:nvPr/>
        </p:nvSpPr>
        <p:spPr>
          <a:xfrm>
            <a:off x="7043089" y="5306714"/>
            <a:ext cx="2473746" cy="874463"/>
          </a:xfrm>
          <a:prstGeom prst="rect">
            <a:avLst/>
          </a:prstGeom>
          <a:ln>
            <a:solidFill>
              <a:schemeClr val="tx1"/>
            </a:solidFill>
            <a:prstDash val="dash"/>
          </a:ln>
        </p:spPr>
        <p:txBody>
          <a:bodyPr vert="horz" lIns="91440" tIns="45720" rIns="91440" bIns="45720" rtlCol="0" anchor="t">
            <a:normAutofit fontScale="77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b="1" i="1">
                <a:solidFill>
                  <a:schemeClr val="accent1">
                    <a:lumMod val="50000"/>
                  </a:schemeClr>
                </a:solidFill>
                <a:latin typeface="Arial"/>
                <a:cs typeface="Arial"/>
              </a:rPr>
              <a:t>At Bayer</a:t>
            </a:r>
            <a:endParaRPr lang="en-US" sz="1800" b="1" i="1">
              <a:solidFill>
                <a:schemeClr val="accent1">
                  <a:lumMod val="50000"/>
                </a:schemeClr>
              </a:solidFill>
              <a:latin typeface="Arial"/>
              <a:cs typeface="Arial"/>
            </a:endParaRPr>
          </a:p>
          <a:p>
            <a:r>
              <a:rPr lang="en-US" sz="1800">
                <a:latin typeface="Arial"/>
                <a:cs typeface="Arial"/>
              </a:rPr>
              <a:t>Vegetable R&amp;D APD Intern</a:t>
            </a:r>
          </a:p>
          <a:p>
            <a:r>
              <a:rPr lang="en-US" sz="1800">
                <a:latin typeface="Arial"/>
                <a:cs typeface="Arial"/>
              </a:rPr>
              <a:t>Global Digital Phenotyping </a:t>
            </a:r>
          </a:p>
        </p:txBody>
      </p:sp>
      <p:sp>
        <p:nvSpPr>
          <p:cNvPr id="2" name="Slide Number Placeholder 1">
            <a:extLst>
              <a:ext uri="{FF2B5EF4-FFF2-40B4-BE49-F238E27FC236}">
                <a16:creationId xmlns:a16="http://schemas.microsoft.com/office/drawing/2014/main" id="{9226B3AE-7380-1F6C-697A-E9637435E60D}"/>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2</a:t>
            </a:fld>
            <a:endParaRPr lang="en-US" noProof="0">
              <a:latin typeface="Arial"/>
              <a:cs typeface="Arial"/>
            </a:endParaRPr>
          </a:p>
        </p:txBody>
      </p:sp>
      <p:sp>
        <p:nvSpPr>
          <p:cNvPr id="4" name="Subtitle 2">
            <a:extLst>
              <a:ext uri="{FF2B5EF4-FFF2-40B4-BE49-F238E27FC236}">
                <a16:creationId xmlns:a16="http://schemas.microsoft.com/office/drawing/2014/main" id="{FD0EF38E-D7C0-8E63-A04B-1205873730B2}"/>
              </a:ext>
            </a:extLst>
          </p:cNvPr>
          <p:cNvSpPr txBox="1">
            <a:spLocks/>
          </p:cNvSpPr>
          <p:nvPr/>
        </p:nvSpPr>
        <p:spPr>
          <a:xfrm>
            <a:off x="1037438" y="5720854"/>
            <a:ext cx="5949288" cy="874463"/>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i="1">
                <a:solidFill>
                  <a:schemeClr val="accent5">
                    <a:lumMod val="75000"/>
                  </a:schemeClr>
                </a:solidFill>
                <a:latin typeface="Arial"/>
                <a:cs typeface="Arial"/>
              </a:rPr>
              <a:t>Hobbies: Travel, Soccer, Socializing, Cleaning.</a:t>
            </a:r>
          </a:p>
          <a:p>
            <a:pPr marL="0" indent="0">
              <a:buNone/>
            </a:pPr>
            <a:r>
              <a:rPr lang="en-US" sz="1800" i="1">
                <a:solidFill>
                  <a:schemeClr val="accent5">
                    <a:lumMod val="75000"/>
                  </a:schemeClr>
                </a:solidFill>
                <a:latin typeface="Arial"/>
                <a:cs typeface="Arial"/>
              </a:rPr>
              <a:t>Obsessed about: Star Wars, Harry Potter, Action/Sci-fi</a:t>
            </a:r>
            <a:endParaRPr lang="en-US" sz="1600" i="1">
              <a:solidFill>
                <a:schemeClr val="accent5">
                  <a:lumMod val="75000"/>
                </a:schemeClr>
              </a:solidFill>
              <a:latin typeface="Arial"/>
              <a:cs typeface="Arial"/>
            </a:endParaRPr>
          </a:p>
        </p:txBody>
      </p:sp>
      <p:pic>
        <p:nvPicPr>
          <p:cNvPr id="8" name="Picture 7" descr="A qr code on a white background&#10;&#10;Description automatically generated">
            <a:extLst>
              <a:ext uri="{FF2B5EF4-FFF2-40B4-BE49-F238E27FC236}">
                <a16:creationId xmlns:a16="http://schemas.microsoft.com/office/drawing/2014/main" id="{92A438D3-297D-DDD8-9B6E-2B42DB4D6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5281" y="5174306"/>
            <a:ext cx="1139280" cy="1139280"/>
          </a:xfrm>
          <a:prstGeom prst="rect">
            <a:avLst/>
          </a:prstGeom>
        </p:spPr>
      </p:pic>
      <p:sp>
        <p:nvSpPr>
          <p:cNvPr id="13" name="TextBox 12">
            <a:extLst>
              <a:ext uri="{FF2B5EF4-FFF2-40B4-BE49-F238E27FC236}">
                <a16:creationId xmlns:a16="http://schemas.microsoft.com/office/drawing/2014/main" id="{D2E8F959-A480-C597-DD32-378E99CD7A2C}"/>
              </a:ext>
            </a:extLst>
          </p:cNvPr>
          <p:cNvSpPr txBox="1"/>
          <p:nvPr/>
        </p:nvSpPr>
        <p:spPr>
          <a:xfrm>
            <a:off x="9841971" y="6149393"/>
            <a:ext cx="1485900" cy="369332"/>
          </a:xfrm>
          <a:prstGeom prst="rect">
            <a:avLst/>
          </a:prstGeom>
          <a:noFill/>
        </p:spPr>
        <p:txBody>
          <a:bodyPr wrap="square" lIns="91440" tIns="45720" rIns="91440" bIns="45720" rtlCol="0" anchor="t">
            <a:spAutoFit/>
          </a:bodyPr>
          <a:lstStyle/>
          <a:p>
            <a:pPr algn="ctr"/>
            <a:r>
              <a:rPr lang="en-US" err="1">
                <a:solidFill>
                  <a:srgbClr val="0070C0"/>
                </a:solidFill>
                <a:latin typeface="Arial"/>
                <a:cs typeface="Arial"/>
              </a:rPr>
              <a:t>LinkedIN</a:t>
            </a:r>
            <a:endParaRPr lang="en-US">
              <a:solidFill>
                <a:srgbClr val="0070C0"/>
              </a:solidFill>
              <a:latin typeface="Arial"/>
              <a:cs typeface="Arial"/>
            </a:endParaRPr>
          </a:p>
        </p:txBody>
      </p:sp>
    </p:spTree>
    <p:extLst>
      <p:ext uri="{BB962C8B-B14F-4D97-AF65-F5344CB8AC3E}">
        <p14:creationId xmlns:p14="http://schemas.microsoft.com/office/powerpoint/2010/main" val="4056719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Analysis-Ready Dataset (ARD) Compilation</a:t>
            </a:r>
          </a:p>
        </p:txBody>
      </p:sp>
      <p:sp>
        <p:nvSpPr>
          <p:cNvPr id="2" name="TextBox 1">
            <a:extLst>
              <a:ext uri="{FF2B5EF4-FFF2-40B4-BE49-F238E27FC236}">
                <a16:creationId xmlns:a16="http://schemas.microsoft.com/office/drawing/2014/main" id="{5CA4440B-028E-4F88-3186-F24679B2C4C9}"/>
              </a:ext>
            </a:extLst>
          </p:cNvPr>
          <p:cNvSpPr txBox="1"/>
          <p:nvPr/>
        </p:nvSpPr>
        <p:spPr>
          <a:xfrm>
            <a:off x="1259337" y="4289884"/>
            <a:ext cx="3006794" cy="923330"/>
          </a:xfrm>
          <a:prstGeom prst="rect">
            <a:avLst/>
          </a:prstGeom>
          <a:noFill/>
        </p:spPr>
        <p:txBody>
          <a:bodyPr wrap="square" lIns="91440" tIns="45720" rIns="91440" bIns="45720" anchor="t">
            <a:spAutoFit/>
          </a:bodyPr>
          <a:lstStyle/>
          <a:p>
            <a:r>
              <a:rPr lang="en-US">
                <a:solidFill>
                  <a:schemeClr val="accent6">
                    <a:lumMod val="75000"/>
                  </a:schemeClr>
                </a:solidFill>
                <a:latin typeface="Arial"/>
                <a:cs typeface="Arial"/>
              </a:rPr>
              <a:t>Max Relative Humidity</a:t>
            </a:r>
          </a:p>
          <a:p>
            <a:r>
              <a:rPr lang="en-US">
                <a:solidFill>
                  <a:schemeClr val="accent6">
                    <a:lumMod val="75000"/>
                  </a:schemeClr>
                </a:solidFill>
                <a:latin typeface="Arial"/>
                <a:cs typeface="Arial"/>
              </a:rPr>
              <a:t>Min Relative Humidity</a:t>
            </a:r>
          </a:p>
          <a:p>
            <a:r>
              <a:rPr lang="en-US">
                <a:solidFill>
                  <a:schemeClr val="accent6">
                    <a:lumMod val="75000"/>
                  </a:schemeClr>
                </a:solidFill>
                <a:latin typeface="Arial"/>
                <a:cs typeface="Arial"/>
              </a:rPr>
              <a:t>Total Net Solar Radiation</a:t>
            </a:r>
          </a:p>
        </p:txBody>
      </p:sp>
      <p:sp>
        <p:nvSpPr>
          <p:cNvPr id="4" name="TextBox 3">
            <a:extLst>
              <a:ext uri="{FF2B5EF4-FFF2-40B4-BE49-F238E27FC236}">
                <a16:creationId xmlns:a16="http://schemas.microsoft.com/office/drawing/2014/main" id="{9BBBEEA8-01ED-B542-9A63-9A69DC65E6BA}"/>
              </a:ext>
            </a:extLst>
          </p:cNvPr>
          <p:cNvSpPr txBox="1"/>
          <p:nvPr/>
        </p:nvSpPr>
        <p:spPr>
          <a:xfrm>
            <a:off x="1254814" y="1544218"/>
            <a:ext cx="3006794" cy="1754326"/>
          </a:xfrm>
          <a:prstGeom prst="rect">
            <a:avLst/>
          </a:prstGeom>
          <a:noFill/>
        </p:spPr>
        <p:txBody>
          <a:bodyPr wrap="square" lIns="91440" tIns="45720" rIns="91440" bIns="45720" anchor="t">
            <a:spAutoFit/>
          </a:bodyPr>
          <a:lstStyle/>
          <a:p>
            <a:r>
              <a:rPr lang="en-US">
                <a:solidFill>
                  <a:srgbClr val="0070C0"/>
                </a:solidFill>
                <a:latin typeface="Arial"/>
                <a:cs typeface="Arial"/>
              </a:rPr>
              <a:t>Max Temperature</a:t>
            </a:r>
          </a:p>
          <a:p>
            <a:r>
              <a:rPr lang="en-US">
                <a:solidFill>
                  <a:srgbClr val="0070C0"/>
                </a:solidFill>
                <a:latin typeface="Arial"/>
                <a:cs typeface="Arial"/>
              </a:rPr>
              <a:t>Min Temperature</a:t>
            </a:r>
          </a:p>
          <a:p>
            <a:r>
              <a:rPr lang="en-US">
                <a:solidFill>
                  <a:srgbClr val="0070C0"/>
                </a:solidFill>
                <a:latin typeface="Arial"/>
                <a:cs typeface="Arial"/>
              </a:rPr>
              <a:t>Average Temperature</a:t>
            </a:r>
          </a:p>
          <a:p>
            <a:r>
              <a:rPr lang="en-US">
                <a:solidFill>
                  <a:srgbClr val="0070C0"/>
                </a:solidFill>
                <a:latin typeface="Arial"/>
                <a:cs typeface="Arial"/>
              </a:rPr>
              <a:t>Average Relative Humidity</a:t>
            </a:r>
          </a:p>
          <a:p>
            <a:r>
              <a:rPr lang="en-US">
                <a:solidFill>
                  <a:srgbClr val="0070C0"/>
                </a:solidFill>
                <a:latin typeface="Arial"/>
                <a:cs typeface="Arial"/>
              </a:rPr>
              <a:t>Average Wind Speed</a:t>
            </a:r>
          </a:p>
          <a:p>
            <a:r>
              <a:rPr lang="en-US">
                <a:solidFill>
                  <a:srgbClr val="0070C0"/>
                </a:solidFill>
                <a:latin typeface="Arial"/>
                <a:cs typeface="Arial"/>
              </a:rPr>
              <a:t>Total Precipitation</a:t>
            </a:r>
          </a:p>
        </p:txBody>
      </p:sp>
      <p:sp>
        <p:nvSpPr>
          <p:cNvPr id="5" name="TextBox 4">
            <a:extLst>
              <a:ext uri="{FF2B5EF4-FFF2-40B4-BE49-F238E27FC236}">
                <a16:creationId xmlns:a16="http://schemas.microsoft.com/office/drawing/2014/main" id="{FBF989BE-2FC9-C908-243D-DA2D7ECAB17C}"/>
              </a:ext>
            </a:extLst>
          </p:cNvPr>
          <p:cNvSpPr txBox="1"/>
          <p:nvPr/>
        </p:nvSpPr>
        <p:spPr>
          <a:xfrm>
            <a:off x="865388" y="1174886"/>
            <a:ext cx="3303940" cy="338554"/>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1600" b="1">
                <a:latin typeface="Arial"/>
                <a:cs typeface="Arial"/>
              </a:rPr>
              <a:t>Modeled Weather Data</a:t>
            </a:r>
          </a:p>
        </p:txBody>
      </p:sp>
      <p:sp>
        <p:nvSpPr>
          <p:cNvPr id="6" name="TextBox 5">
            <a:extLst>
              <a:ext uri="{FF2B5EF4-FFF2-40B4-BE49-F238E27FC236}">
                <a16:creationId xmlns:a16="http://schemas.microsoft.com/office/drawing/2014/main" id="{E9090D9C-F1FA-CA30-D8D9-B93C832FDBD4}"/>
              </a:ext>
            </a:extLst>
          </p:cNvPr>
          <p:cNvSpPr txBox="1"/>
          <p:nvPr/>
        </p:nvSpPr>
        <p:spPr>
          <a:xfrm>
            <a:off x="865387" y="3720995"/>
            <a:ext cx="3303939" cy="584775"/>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1600" b="1">
                <a:latin typeface="Arial"/>
                <a:cs typeface="Arial"/>
              </a:rPr>
              <a:t>ERA5 Resampled Weather Data</a:t>
            </a:r>
          </a:p>
        </p:txBody>
      </p:sp>
      <p:sp>
        <p:nvSpPr>
          <p:cNvPr id="8" name="TextBox 7">
            <a:extLst>
              <a:ext uri="{FF2B5EF4-FFF2-40B4-BE49-F238E27FC236}">
                <a16:creationId xmlns:a16="http://schemas.microsoft.com/office/drawing/2014/main" id="{130E9D39-7572-D5EE-8C78-7FDFC7B77798}"/>
              </a:ext>
            </a:extLst>
          </p:cNvPr>
          <p:cNvSpPr txBox="1"/>
          <p:nvPr/>
        </p:nvSpPr>
        <p:spPr>
          <a:xfrm>
            <a:off x="865387" y="5389817"/>
            <a:ext cx="2204983" cy="338554"/>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1600" b="1">
                <a:latin typeface="Arial"/>
                <a:cs typeface="Arial"/>
              </a:rPr>
              <a:t>Soil 250 Datasets </a:t>
            </a:r>
          </a:p>
        </p:txBody>
      </p:sp>
      <p:sp>
        <p:nvSpPr>
          <p:cNvPr id="11" name="TextBox 10">
            <a:extLst>
              <a:ext uri="{FF2B5EF4-FFF2-40B4-BE49-F238E27FC236}">
                <a16:creationId xmlns:a16="http://schemas.microsoft.com/office/drawing/2014/main" id="{DF0F00DF-0893-8866-FE70-C4DEA8AA9BAF}"/>
              </a:ext>
            </a:extLst>
          </p:cNvPr>
          <p:cNvSpPr txBox="1"/>
          <p:nvPr/>
        </p:nvSpPr>
        <p:spPr>
          <a:xfrm>
            <a:off x="885693" y="5928923"/>
            <a:ext cx="1631664" cy="338554"/>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1600" b="1">
                <a:latin typeface="Arial"/>
                <a:cs typeface="Arial"/>
              </a:rPr>
              <a:t>Elevation</a:t>
            </a:r>
          </a:p>
        </p:txBody>
      </p:sp>
      <p:sp>
        <p:nvSpPr>
          <p:cNvPr id="12" name="Rectangle 11">
            <a:extLst>
              <a:ext uri="{FF2B5EF4-FFF2-40B4-BE49-F238E27FC236}">
                <a16:creationId xmlns:a16="http://schemas.microsoft.com/office/drawing/2014/main" id="{3D9AEB3F-97A4-58D7-EBA2-A315915EA8D1}"/>
              </a:ext>
            </a:extLst>
          </p:cNvPr>
          <p:cNvSpPr/>
          <p:nvPr/>
        </p:nvSpPr>
        <p:spPr>
          <a:xfrm>
            <a:off x="9309599" y="3056576"/>
            <a:ext cx="1888578" cy="617194"/>
          </a:xfrm>
          <a:prstGeom prst="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4km ARD</a:t>
            </a:r>
          </a:p>
        </p:txBody>
      </p:sp>
      <p:sp>
        <p:nvSpPr>
          <p:cNvPr id="3" name="Slide Number Placeholder 2">
            <a:extLst>
              <a:ext uri="{FF2B5EF4-FFF2-40B4-BE49-F238E27FC236}">
                <a16:creationId xmlns:a16="http://schemas.microsoft.com/office/drawing/2014/main" id="{00F22E15-01EE-FF64-1C18-383243B491A9}"/>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20</a:t>
            </a:fld>
            <a:endParaRPr lang="en-US" noProof="0">
              <a:latin typeface="Arial"/>
              <a:cs typeface="Arial"/>
            </a:endParaRPr>
          </a:p>
        </p:txBody>
      </p:sp>
      <p:sp>
        <p:nvSpPr>
          <p:cNvPr id="22" name="Rectangle 21">
            <a:extLst>
              <a:ext uri="{FF2B5EF4-FFF2-40B4-BE49-F238E27FC236}">
                <a16:creationId xmlns:a16="http://schemas.microsoft.com/office/drawing/2014/main" id="{84A884FF-D6E8-DB6E-BE2D-CD78B2329537}"/>
              </a:ext>
            </a:extLst>
          </p:cNvPr>
          <p:cNvSpPr/>
          <p:nvPr/>
        </p:nvSpPr>
        <p:spPr>
          <a:xfrm>
            <a:off x="885693" y="1174886"/>
            <a:ext cx="3475308" cy="512336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a:latin typeface="Arial"/>
              <a:cs typeface="Arial"/>
            </a:endParaRPr>
          </a:p>
        </p:txBody>
      </p:sp>
      <p:sp>
        <p:nvSpPr>
          <p:cNvPr id="29" name="TextBox 28">
            <a:extLst>
              <a:ext uri="{FF2B5EF4-FFF2-40B4-BE49-F238E27FC236}">
                <a16:creationId xmlns:a16="http://schemas.microsoft.com/office/drawing/2014/main" id="{45C99936-BD6F-80BE-E422-684ACF5B6162}"/>
              </a:ext>
            </a:extLst>
          </p:cNvPr>
          <p:cNvSpPr txBox="1"/>
          <p:nvPr/>
        </p:nvSpPr>
        <p:spPr>
          <a:xfrm>
            <a:off x="885693" y="6299255"/>
            <a:ext cx="3475308" cy="584775"/>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1600" b="1" i="1">
                <a:solidFill>
                  <a:srgbClr val="7030A0"/>
                </a:solidFill>
                <a:latin typeface="Arial"/>
                <a:cs typeface="Arial"/>
              </a:rPr>
              <a:t>Time-Series Satellite Land Surface Temp.</a:t>
            </a:r>
          </a:p>
        </p:txBody>
      </p:sp>
      <p:cxnSp>
        <p:nvCxnSpPr>
          <p:cNvPr id="32" name="Connector: Elbow 31">
            <a:extLst>
              <a:ext uri="{FF2B5EF4-FFF2-40B4-BE49-F238E27FC236}">
                <a16:creationId xmlns:a16="http://schemas.microsoft.com/office/drawing/2014/main" id="{4CCCEBD3-DE28-77A4-5107-F7A7832F5360}"/>
              </a:ext>
            </a:extLst>
          </p:cNvPr>
          <p:cNvCxnSpPr>
            <a:cxnSpLocks/>
            <a:endCxn id="33" idx="1"/>
          </p:cNvCxnSpPr>
          <p:nvPr/>
        </p:nvCxnSpPr>
        <p:spPr>
          <a:xfrm>
            <a:off x="4361001" y="3910195"/>
            <a:ext cx="1938754" cy="150123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34" name="Connector: Elbow 33">
            <a:extLst>
              <a:ext uri="{FF2B5EF4-FFF2-40B4-BE49-F238E27FC236}">
                <a16:creationId xmlns:a16="http://schemas.microsoft.com/office/drawing/2014/main" id="{08419CF4-CBAD-281D-882F-893CEFAF773B}"/>
              </a:ext>
            </a:extLst>
          </p:cNvPr>
          <p:cNvCxnSpPr>
            <a:cxnSpLocks/>
            <a:stCxn id="29" idx="3"/>
            <a:endCxn id="33" idx="1"/>
          </p:cNvCxnSpPr>
          <p:nvPr/>
        </p:nvCxnSpPr>
        <p:spPr>
          <a:xfrm flipV="1">
            <a:off x="4361001" y="5411429"/>
            <a:ext cx="1938754" cy="118021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grpSp>
        <p:nvGrpSpPr>
          <p:cNvPr id="25" name="Group 24">
            <a:extLst>
              <a:ext uri="{FF2B5EF4-FFF2-40B4-BE49-F238E27FC236}">
                <a16:creationId xmlns:a16="http://schemas.microsoft.com/office/drawing/2014/main" id="{B3357281-751E-41D7-8395-1B7BE658370E}"/>
              </a:ext>
            </a:extLst>
          </p:cNvPr>
          <p:cNvGrpSpPr/>
          <p:nvPr/>
        </p:nvGrpSpPr>
        <p:grpSpPr>
          <a:xfrm>
            <a:off x="5751313" y="1359552"/>
            <a:ext cx="2886335" cy="3209116"/>
            <a:chOff x="5657050" y="1350679"/>
            <a:chExt cx="2886335" cy="3209116"/>
          </a:xfrm>
        </p:grpSpPr>
        <p:pic>
          <p:nvPicPr>
            <p:cNvPr id="21" name="Picture 20" descr="A screenshot of datasets&#10;&#10;Description automatically generated">
              <a:extLst>
                <a:ext uri="{FF2B5EF4-FFF2-40B4-BE49-F238E27FC236}">
                  <a16:creationId xmlns:a16="http://schemas.microsoft.com/office/drawing/2014/main" id="{05E9C9B5-A17B-24B5-B9B6-1AD4D12EEC4A}"/>
                </a:ext>
              </a:extLst>
            </p:cNvPr>
            <p:cNvPicPr>
              <a:picLocks noChangeAspect="1"/>
            </p:cNvPicPr>
            <p:nvPr/>
          </p:nvPicPr>
          <p:blipFill rotWithShape="1">
            <a:blip r:embed="rId3">
              <a:extLst>
                <a:ext uri="{28A0092B-C50C-407E-A947-70E740481C1C}">
                  <a14:useLocalDpi xmlns:a14="http://schemas.microsoft.com/office/drawing/2010/main" val="0"/>
                </a:ext>
              </a:extLst>
            </a:blip>
            <a:srcRect l="67539" t="14324" r="7812" b="12302"/>
            <a:stretch/>
          </p:blipFill>
          <p:spPr>
            <a:xfrm>
              <a:off x="5657050" y="1350679"/>
              <a:ext cx="1745474" cy="2205040"/>
            </a:xfrm>
            <a:prstGeom prst="rect">
              <a:avLst/>
            </a:prstGeom>
            <a:ln>
              <a:solidFill>
                <a:schemeClr val="tx1"/>
              </a:solidFill>
            </a:ln>
          </p:spPr>
        </p:pic>
        <p:pic>
          <p:nvPicPr>
            <p:cNvPr id="16" name="Picture 15" descr="A screenshot of datas&#10;&#10;Description automatically generated">
              <a:extLst>
                <a:ext uri="{FF2B5EF4-FFF2-40B4-BE49-F238E27FC236}">
                  <a16:creationId xmlns:a16="http://schemas.microsoft.com/office/drawing/2014/main" id="{D9A75E5E-D421-9F02-C653-2DCED4BEE310}"/>
                </a:ext>
              </a:extLst>
            </p:cNvPr>
            <p:cNvPicPr>
              <a:picLocks noChangeAspect="1"/>
            </p:cNvPicPr>
            <p:nvPr/>
          </p:nvPicPr>
          <p:blipFill rotWithShape="1">
            <a:blip r:embed="rId4">
              <a:extLst>
                <a:ext uri="{28A0092B-C50C-407E-A947-70E740481C1C}">
                  <a14:useLocalDpi xmlns:a14="http://schemas.microsoft.com/office/drawing/2010/main" val="0"/>
                </a:ext>
              </a:extLst>
            </a:blip>
            <a:srcRect l="66879" t="13287" r="8946" b="13389"/>
            <a:stretch/>
          </p:blipFill>
          <p:spPr>
            <a:xfrm>
              <a:off x="5863113" y="1492991"/>
              <a:ext cx="1693032" cy="2165443"/>
            </a:xfrm>
            <a:prstGeom prst="rect">
              <a:avLst/>
            </a:prstGeom>
            <a:ln>
              <a:solidFill>
                <a:schemeClr val="tx1"/>
              </a:solidFill>
            </a:ln>
          </p:spPr>
        </p:pic>
        <p:pic>
          <p:nvPicPr>
            <p:cNvPr id="18" name="Picture 17" descr="A screenshot of datasets&#10;&#10;Description automatically generated">
              <a:extLst>
                <a:ext uri="{FF2B5EF4-FFF2-40B4-BE49-F238E27FC236}">
                  <a16:creationId xmlns:a16="http://schemas.microsoft.com/office/drawing/2014/main" id="{2A4E8EF0-D5ED-9550-4830-1904FC63FFB2}"/>
                </a:ext>
              </a:extLst>
            </p:cNvPr>
            <p:cNvPicPr>
              <a:picLocks noChangeAspect="1"/>
            </p:cNvPicPr>
            <p:nvPr/>
          </p:nvPicPr>
          <p:blipFill rotWithShape="1">
            <a:blip r:embed="rId5">
              <a:extLst>
                <a:ext uri="{28A0092B-C50C-407E-A947-70E740481C1C}">
                  <a14:useLocalDpi xmlns:a14="http://schemas.microsoft.com/office/drawing/2010/main" val="0"/>
                </a:ext>
              </a:extLst>
            </a:blip>
            <a:srcRect l="67787" t="13598" r="7744" b="13095"/>
            <a:stretch/>
          </p:blipFill>
          <p:spPr>
            <a:xfrm>
              <a:off x="6110622" y="1693538"/>
              <a:ext cx="1745474" cy="2207785"/>
            </a:xfrm>
            <a:prstGeom prst="rect">
              <a:avLst/>
            </a:prstGeom>
            <a:ln>
              <a:solidFill>
                <a:schemeClr val="tx1"/>
              </a:solidFill>
            </a:ln>
          </p:spPr>
        </p:pic>
        <p:pic>
          <p:nvPicPr>
            <p:cNvPr id="20" name="Picture 19" descr="A screenshot of datasets&#10;&#10;Description automatically generated">
              <a:extLst>
                <a:ext uri="{FF2B5EF4-FFF2-40B4-BE49-F238E27FC236}">
                  <a16:creationId xmlns:a16="http://schemas.microsoft.com/office/drawing/2014/main" id="{E67D2468-7831-F453-2A52-5723971AE552}"/>
                </a:ext>
              </a:extLst>
            </p:cNvPr>
            <p:cNvPicPr>
              <a:picLocks noChangeAspect="1"/>
            </p:cNvPicPr>
            <p:nvPr/>
          </p:nvPicPr>
          <p:blipFill rotWithShape="1">
            <a:blip r:embed="rId3">
              <a:extLst>
                <a:ext uri="{28A0092B-C50C-407E-A947-70E740481C1C}">
                  <a14:useLocalDpi xmlns:a14="http://schemas.microsoft.com/office/drawing/2010/main" val="0"/>
                </a:ext>
              </a:extLst>
            </a:blip>
            <a:srcRect l="67539" t="14324" r="7812" b="12302"/>
            <a:stretch/>
          </p:blipFill>
          <p:spPr>
            <a:xfrm>
              <a:off x="6339628" y="1912386"/>
              <a:ext cx="1745474" cy="2205040"/>
            </a:xfrm>
            <a:prstGeom prst="rect">
              <a:avLst/>
            </a:prstGeom>
            <a:ln>
              <a:solidFill>
                <a:schemeClr val="tx1"/>
              </a:solidFill>
            </a:ln>
          </p:spPr>
        </p:pic>
        <p:pic>
          <p:nvPicPr>
            <p:cNvPr id="23" name="Picture 22">
              <a:extLst>
                <a:ext uri="{FF2B5EF4-FFF2-40B4-BE49-F238E27FC236}">
                  <a16:creationId xmlns:a16="http://schemas.microsoft.com/office/drawing/2014/main" id="{9C3B8CF1-ADC3-7D75-659A-265DE7E1097C}"/>
                </a:ext>
              </a:extLst>
            </p:cNvPr>
            <p:cNvPicPr>
              <a:picLocks noChangeAspect="1"/>
            </p:cNvPicPr>
            <p:nvPr/>
          </p:nvPicPr>
          <p:blipFill>
            <a:blip r:embed="rId6">
              <a:extLst>
                <a:ext uri="{28A0092B-C50C-407E-A947-70E740481C1C}">
                  <a14:useLocalDpi xmlns:a14="http://schemas.microsoft.com/office/drawing/2010/main" val="0"/>
                </a:ext>
              </a:extLst>
            </a:blip>
            <a:srcRect l="4115" r="4115"/>
            <a:stretch/>
          </p:blipFill>
          <p:spPr>
            <a:xfrm>
              <a:off x="6568634" y="2121563"/>
              <a:ext cx="1745474" cy="2205040"/>
            </a:xfrm>
            <a:prstGeom prst="rect">
              <a:avLst/>
            </a:prstGeom>
            <a:ln>
              <a:solidFill>
                <a:schemeClr val="tx1"/>
              </a:solidFill>
            </a:ln>
          </p:spPr>
        </p:pic>
        <p:pic>
          <p:nvPicPr>
            <p:cNvPr id="24" name="Picture 23">
              <a:extLst>
                <a:ext uri="{FF2B5EF4-FFF2-40B4-BE49-F238E27FC236}">
                  <a16:creationId xmlns:a16="http://schemas.microsoft.com/office/drawing/2014/main" id="{A6334269-1A73-EE1F-6E20-86D8472D0F9F}"/>
                </a:ext>
              </a:extLst>
            </p:cNvPr>
            <p:cNvPicPr>
              <a:picLocks noChangeAspect="1"/>
            </p:cNvPicPr>
            <p:nvPr/>
          </p:nvPicPr>
          <p:blipFill>
            <a:blip r:embed="rId7">
              <a:extLst>
                <a:ext uri="{28A0092B-C50C-407E-A947-70E740481C1C}">
                  <a14:useLocalDpi xmlns:a14="http://schemas.microsoft.com/office/drawing/2010/main" val="0"/>
                </a:ext>
              </a:extLst>
            </a:blip>
            <a:srcRect l="3811" r="3811"/>
            <a:stretch/>
          </p:blipFill>
          <p:spPr>
            <a:xfrm>
              <a:off x="6797911" y="2354755"/>
              <a:ext cx="1745474" cy="2205040"/>
            </a:xfrm>
            <a:prstGeom prst="rect">
              <a:avLst/>
            </a:prstGeom>
            <a:ln>
              <a:solidFill>
                <a:schemeClr val="tx1"/>
              </a:solidFill>
            </a:ln>
          </p:spPr>
        </p:pic>
      </p:grpSp>
      <p:sp>
        <p:nvSpPr>
          <p:cNvPr id="28" name="Rectangle 27">
            <a:extLst>
              <a:ext uri="{FF2B5EF4-FFF2-40B4-BE49-F238E27FC236}">
                <a16:creationId xmlns:a16="http://schemas.microsoft.com/office/drawing/2014/main" id="{F8CA0F20-230F-4570-700C-FA2F2B52DCF4}"/>
              </a:ext>
            </a:extLst>
          </p:cNvPr>
          <p:cNvSpPr/>
          <p:nvPr/>
        </p:nvSpPr>
        <p:spPr>
          <a:xfrm>
            <a:off x="9309599" y="5676320"/>
            <a:ext cx="1888578" cy="617194"/>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100m ARD</a:t>
            </a:r>
          </a:p>
        </p:txBody>
      </p:sp>
      <p:grpSp>
        <p:nvGrpSpPr>
          <p:cNvPr id="43" name="Group 42">
            <a:extLst>
              <a:ext uri="{FF2B5EF4-FFF2-40B4-BE49-F238E27FC236}">
                <a16:creationId xmlns:a16="http://schemas.microsoft.com/office/drawing/2014/main" id="{1BA4ECC9-B540-3490-1ACD-778434F438B4}"/>
              </a:ext>
            </a:extLst>
          </p:cNvPr>
          <p:cNvGrpSpPr/>
          <p:nvPr/>
        </p:nvGrpSpPr>
        <p:grpSpPr>
          <a:xfrm>
            <a:off x="6299755" y="4773370"/>
            <a:ext cx="2250080" cy="1968080"/>
            <a:chOff x="6250638" y="4864927"/>
            <a:chExt cx="2250080" cy="1968080"/>
          </a:xfrm>
        </p:grpSpPr>
        <p:pic>
          <p:nvPicPr>
            <p:cNvPr id="33" name="Picture 32" descr="A yellow and black pixelated animal&#10;&#10;Description automatically generated">
              <a:extLst>
                <a:ext uri="{FF2B5EF4-FFF2-40B4-BE49-F238E27FC236}">
                  <a16:creationId xmlns:a16="http://schemas.microsoft.com/office/drawing/2014/main" id="{F5909640-22FD-A1A9-8806-83E7356CFCD7}"/>
                </a:ext>
              </a:extLst>
            </p:cNvPr>
            <p:cNvPicPr>
              <a:picLocks noChangeAspect="1"/>
            </p:cNvPicPr>
            <p:nvPr/>
          </p:nvPicPr>
          <p:blipFill rotWithShape="1">
            <a:blip r:embed="rId8">
              <a:extLst>
                <a:ext uri="{28A0092B-C50C-407E-A947-70E740481C1C}">
                  <a14:useLocalDpi xmlns:a14="http://schemas.microsoft.com/office/drawing/2010/main" val="0"/>
                </a:ext>
              </a:extLst>
            </a:blip>
            <a:srcRect l="1731" t="2038" r="1425" b="1726"/>
            <a:stretch/>
          </p:blipFill>
          <p:spPr>
            <a:xfrm>
              <a:off x="6250638" y="4864927"/>
              <a:ext cx="1517651" cy="1276118"/>
            </a:xfrm>
            <a:prstGeom prst="rect">
              <a:avLst/>
            </a:prstGeom>
            <a:ln>
              <a:solidFill>
                <a:schemeClr val="tx1"/>
              </a:solidFill>
            </a:ln>
          </p:spPr>
        </p:pic>
        <p:pic>
          <p:nvPicPr>
            <p:cNvPr id="35" name="Picture 34">
              <a:extLst>
                <a:ext uri="{FF2B5EF4-FFF2-40B4-BE49-F238E27FC236}">
                  <a16:creationId xmlns:a16="http://schemas.microsoft.com/office/drawing/2014/main" id="{E1097BD4-836A-3864-2107-FE4601DD088A}"/>
                </a:ext>
              </a:extLst>
            </p:cNvPr>
            <p:cNvPicPr>
              <a:picLocks noChangeAspect="1"/>
            </p:cNvPicPr>
            <p:nvPr/>
          </p:nvPicPr>
          <p:blipFill rotWithShape="1">
            <a:blip r:embed="rId9">
              <a:extLst>
                <a:ext uri="{28A0092B-C50C-407E-A947-70E740481C1C}">
                  <a14:useLocalDpi xmlns:a14="http://schemas.microsoft.com/office/drawing/2010/main" val="0"/>
                </a:ext>
              </a:extLst>
            </a:blip>
            <a:srcRect l="1203" t="1915" r="1830" b="2699"/>
            <a:stretch/>
          </p:blipFill>
          <p:spPr>
            <a:xfrm>
              <a:off x="6421295" y="5032157"/>
              <a:ext cx="1471614" cy="1236295"/>
            </a:xfrm>
            <a:prstGeom prst="rect">
              <a:avLst/>
            </a:prstGeom>
            <a:ln>
              <a:solidFill>
                <a:schemeClr val="tx1"/>
              </a:solidFill>
            </a:ln>
          </p:spPr>
        </p:pic>
        <p:pic>
          <p:nvPicPr>
            <p:cNvPr id="36" name="Picture 35">
              <a:extLst>
                <a:ext uri="{FF2B5EF4-FFF2-40B4-BE49-F238E27FC236}">
                  <a16:creationId xmlns:a16="http://schemas.microsoft.com/office/drawing/2014/main" id="{D0500B77-455D-83F1-F712-86DD603FC36C}"/>
                </a:ext>
              </a:extLst>
            </p:cNvPr>
            <p:cNvPicPr>
              <a:picLocks noChangeAspect="1"/>
            </p:cNvPicPr>
            <p:nvPr/>
          </p:nvPicPr>
          <p:blipFill rotWithShape="1">
            <a:blip r:embed="rId10">
              <a:extLst>
                <a:ext uri="{28A0092B-C50C-407E-A947-70E740481C1C}">
                  <a14:useLocalDpi xmlns:a14="http://schemas.microsoft.com/office/drawing/2010/main" val="0"/>
                </a:ext>
              </a:extLst>
            </a:blip>
            <a:srcRect l="1830" t="1426" r="1204" b="2956"/>
            <a:stretch/>
          </p:blipFill>
          <p:spPr>
            <a:xfrm>
              <a:off x="6583217" y="5176219"/>
              <a:ext cx="1471615" cy="1243227"/>
            </a:xfrm>
            <a:prstGeom prst="rect">
              <a:avLst/>
            </a:prstGeom>
            <a:ln>
              <a:solidFill>
                <a:schemeClr val="tx1"/>
              </a:solidFill>
            </a:ln>
          </p:spPr>
        </p:pic>
        <p:pic>
          <p:nvPicPr>
            <p:cNvPr id="37" name="Picture 36">
              <a:extLst>
                <a:ext uri="{FF2B5EF4-FFF2-40B4-BE49-F238E27FC236}">
                  <a16:creationId xmlns:a16="http://schemas.microsoft.com/office/drawing/2014/main" id="{FB1BB6F7-93CE-B2AF-6D12-7D1F152F2BD6}"/>
                </a:ext>
              </a:extLst>
            </p:cNvPr>
            <p:cNvPicPr>
              <a:picLocks noChangeAspect="1"/>
            </p:cNvPicPr>
            <p:nvPr/>
          </p:nvPicPr>
          <p:blipFill rotWithShape="1">
            <a:blip r:embed="rId11">
              <a:extLst>
                <a:ext uri="{28A0092B-C50C-407E-A947-70E740481C1C}">
                  <a14:useLocalDpi xmlns:a14="http://schemas.microsoft.com/office/drawing/2010/main" val="0"/>
                </a:ext>
              </a:extLst>
            </a:blip>
            <a:srcRect l="1928" t="1784" r="1104" b="1940"/>
            <a:stretch/>
          </p:blipFill>
          <p:spPr>
            <a:xfrm>
              <a:off x="6737109" y="5337562"/>
              <a:ext cx="1471615" cy="1243228"/>
            </a:xfrm>
            <a:prstGeom prst="rect">
              <a:avLst/>
            </a:prstGeom>
            <a:ln>
              <a:solidFill>
                <a:schemeClr val="tx1"/>
              </a:solidFill>
            </a:ln>
          </p:spPr>
        </p:pic>
        <p:pic>
          <p:nvPicPr>
            <p:cNvPr id="38" name="Picture 37">
              <a:extLst>
                <a:ext uri="{FF2B5EF4-FFF2-40B4-BE49-F238E27FC236}">
                  <a16:creationId xmlns:a16="http://schemas.microsoft.com/office/drawing/2014/main" id="{6F5F416A-4624-C63C-1753-648878CFEEA0}"/>
                </a:ext>
              </a:extLst>
            </p:cNvPr>
            <p:cNvPicPr>
              <a:picLocks noChangeAspect="1"/>
            </p:cNvPicPr>
            <p:nvPr/>
          </p:nvPicPr>
          <p:blipFill rotWithShape="1">
            <a:blip r:embed="rId12">
              <a:extLst>
                <a:ext uri="{28A0092B-C50C-407E-A947-70E740481C1C}">
                  <a14:useLocalDpi xmlns:a14="http://schemas.microsoft.com/office/drawing/2010/main" val="0"/>
                </a:ext>
              </a:extLst>
            </a:blip>
            <a:srcRect l="1517" t="1664" r="1006" b="2555"/>
            <a:stretch/>
          </p:blipFill>
          <p:spPr>
            <a:xfrm>
              <a:off x="6883259" y="5485191"/>
              <a:ext cx="1479358" cy="1243228"/>
            </a:xfrm>
            <a:prstGeom prst="rect">
              <a:avLst/>
            </a:prstGeom>
            <a:ln>
              <a:solidFill>
                <a:schemeClr val="tx1"/>
              </a:solidFill>
            </a:ln>
          </p:spPr>
        </p:pic>
        <p:pic>
          <p:nvPicPr>
            <p:cNvPr id="42" name="Picture 41">
              <a:extLst>
                <a:ext uri="{FF2B5EF4-FFF2-40B4-BE49-F238E27FC236}">
                  <a16:creationId xmlns:a16="http://schemas.microsoft.com/office/drawing/2014/main" id="{977C24D3-A350-3A2E-C184-4C3866D66E77}"/>
                </a:ext>
              </a:extLst>
            </p:cNvPr>
            <p:cNvPicPr>
              <a:picLocks noChangeAspect="1"/>
            </p:cNvPicPr>
            <p:nvPr/>
          </p:nvPicPr>
          <p:blipFill rotWithShape="1">
            <a:blip r:embed="rId9">
              <a:extLst>
                <a:ext uri="{28A0092B-C50C-407E-A947-70E740481C1C}">
                  <a14:useLocalDpi xmlns:a14="http://schemas.microsoft.com/office/drawing/2010/main" val="0"/>
                </a:ext>
              </a:extLst>
            </a:blip>
            <a:srcRect l="1203" t="1915" r="1830" b="2699"/>
            <a:stretch/>
          </p:blipFill>
          <p:spPr>
            <a:xfrm>
              <a:off x="7029104" y="5596712"/>
              <a:ext cx="1471614" cy="1236295"/>
            </a:xfrm>
            <a:prstGeom prst="rect">
              <a:avLst/>
            </a:prstGeom>
            <a:ln>
              <a:solidFill>
                <a:schemeClr val="tx1"/>
              </a:solidFill>
            </a:ln>
          </p:spPr>
        </p:pic>
      </p:grpSp>
      <p:cxnSp>
        <p:nvCxnSpPr>
          <p:cNvPr id="10" name="Elbow Connector 9">
            <a:extLst>
              <a:ext uri="{FF2B5EF4-FFF2-40B4-BE49-F238E27FC236}">
                <a16:creationId xmlns:a16="http://schemas.microsoft.com/office/drawing/2014/main" id="{954496D0-487D-9A4C-B9D9-751FE69133E5}"/>
              </a:ext>
            </a:extLst>
          </p:cNvPr>
          <p:cNvCxnSpPr>
            <a:stCxn id="22" idx="3"/>
            <a:endCxn id="21" idx="1"/>
          </p:cNvCxnSpPr>
          <p:nvPr/>
        </p:nvCxnSpPr>
        <p:spPr>
          <a:xfrm flipV="1">
            <a:off x="4361001" y="2462072"/>
            <a:ext cx="1390312" cy="1274499"/>
          </a:xfrm>
          <a:prstGeom prst="bentConnector3">
            <a:avLst>
              <a:gd name="adj1" fmla="val 68143"/>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8318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1000"/>
                                        <p:tgtEl>
                                          <p:spTgt spid="34"/>
                                        </p:tgtEl>
                                      </p:cBhvr>
                                    </p:animEffect>
                                    <p:anim calcmode="lin" valueType="num">
                                      <p:cBhvr>
                                        <p:cTn id="13" dur="1000" fill="hold"/>
                                        <p:tgtEl>
                                          <p:spTgt spid="34"/>
                                        </p:tgtEl>
                                        <p:attrNameLst>
                                          <p:attrName>ppt_x</p:attrName>
                                        </p:attrNameLst>
                                      </p:cBhvr>
                                      <p:tavLst>
                                        <p:tav tm="0">
                                          <p:val>
                                            <p:strVal val="#ppt_x"/>
                                          </p:val>
                                        </p:tav>
                                        <p:tav tm="100000">
                                          <p:val>
                                            <p:strVal val="#ppt_x"/>
                                          </p:val>
                                        </p:tav>
                                      </p:tavLst>
                                    </p:anim>
                                    <p:anim calcmode="lin" valueType="num">
                                      <p:cBhvr>
                                        <p:cTn id="14" dur="1000" fill="hold"/>
                                        <p:tgtEl>
                                          <p:spTgt spid="3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1000"/>
                                        <p:tgtEl>
                                          <p:spTgt spid="32"/>
                                        </p:tgtEl>
                                      </p:cBhvr>
                                    </p:animEffect>
                                    <p:anim calcmode="lin" valueType="num">
                                      <p:cBhvr>
                                        <p:cTn id="18" dur="1000" fill="hold"/>
                                        <p:tgtEl>
                                          <p:spTgt spid="32"/>
                                        </p:tgtEl>
                                        <p:attrNameLst>
                                          <p:attrName>ppt_x</p:attrName>
                                        </p:attrNameLst>
                                      </p:cBhvr>
                                      <p:tavLst>
                                        <p:tav tm="0">
                                          <p:val>
                                            <p:strVal val="#ppt_x"/>
                                          </p:val>
                                        </p:tav>
                                        <p:tav tm="100000">
                                          <p:val>
                                            <p:strVal val="#ppt_x"/>
                                          </p:val>
                                        </p:tav>
                                      </p:tavLst>
                                    </p:anim>
                                    <p:anim calcmode="lin" valueType="num">
                                      <p:cBhvr>
                                        <p:cTn id="19" dur="1000" fill="hold"/>
                                        <p:tgtEl>
                                          <p:spTgt spid="3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1000"/>
                                        <p:tgtEl>
                                          <p:spTgt spid="28"/>
                                        </p:tgtEl>
                                      </p:cBhvr>
                                    </p:animEffect>
                                    <p:anim calcmode="lin" valueType="num">
                                      <p:cBhvr>
                                        <p:cTn id="23" dur="1000" fill="hold"/>
                                        <p:tgtEl>
                                          <p:spTgt spid="28"/>
                                        </p:tgtEl>
                                        <p:attrNameLst>
                                          <p:attrName>ppt_x</p:attrName>
                                        </p:attrNameLst>
                                      </p:cBhvr>
                                      <p:tavLst>
                                        <p:tav tm="0">
                                          <p:val>
                                            <p:strVal val="#ppt_x"/>
                                          </p:val>
                                        </p:tav>
                                        <p:tav tm="100000">
                                          <p:val>
                                            <p:strVal val="#ppt_x"/>
                                          </p:val>
                                        </p:tav>
                                      </p:tavLst>
                                    </p:anim>
                                    <p:anim calcmode="lin" valueType="num">
                                      <p:cBhvr>
                                        <p:cTn id="24" dur="1000" fill="hold"/>
                                        <p:tgtEl>
                                          <p:spTgt spid="28"/>
                                        </p:tgtEl>
                                        <p:attrNameLst>
                                          <p:attrName>ppt_y</p:attrName>
                                        </p:attrNameLst>
                                      </p:cBhvr>
                                      <p:tavLst>
                                        <p:tav tm="0">
                                          <p:val>
                                            <p:strVal val="#ppt_y+.1"/>
                                          </p:val>
                                        </p:tav>
                                        <p:tav tm="100000">
                                          <p:val>
                                            <p:strVal val="#ppt_y"/>
                                          </p:val>
                                        </p:tav>
                                      </p:tavLst>
                                    </p:anim>
                                  </p:childTnLst>
                                </p:cTn>
                              </p:par>
                              <p:par>
                                <p:cTn id="25" presetID="53" presetClass="entr" presetSubtype="16"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p:cTn id="27" dur="500" fill="hold"/>
                                        <p:tgtEl>
                                          <p:spTgt spid="43"/>
                                        </p:tgtEl>
                                        <p:attrNameLst>
                                          <p:attrName>ppt_w</p:attrName>
                                        </p:attrNameLst>
                                      </p:cBhvr>
                                      <p:tavLst>
                                        <p:tav tm="0">
                                          <p:val>
                                            <p:fltVal val="0"/>
                                          </p:val>
                                        </p:tav>
                                        <p:tav tm="100000">
                                          <p:val>
                                            <p:strVal val="#ppt_w"/>
                                          </p:val>
                                        </p:tav>
                                      </p:tavLst>
                                    </p:anim>
                                    <p:anim calcmode="lin" valueType="num">
                                      <p:cBhvr>
                                        <p:cTn id="28" dur="500" fill="hold"/>
                                        <p:tgtEl>
                                          <p:spTgt spid="43"/>
                                        </p:tgtEl>
                                        <p:attrNameLst>
                                          <p:attrName>ppt_h</p:attrName>
                                        </p:attrNameLst>
                                      </p:cBhvr>
                                      <p:tavLst>
                                        <p:tav tm="0">
                                          <p:val>
                                            <p:fltVal val="0"/>
                                          </p:val>
                                        </p:tav>
                                        <p:tav tm="100000">
                                          <p:val>
                                            <p:strVal val="#ppt_h"/>
                                          </p:val>
                                        </p:tav>
                                      </p:tavLst>
                                    </p:anim>
                                    <p:animEffect transition="in" filter="fade">
                                      <p:cBhvr>
                                        <p:cTn id="2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55863" y="308973"/>
            <a:ext cx="9876626" cy="865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Environmental Clustering Use Case Result</a:t>
            </a:r>
          </a:p>
        </p:txBody>
      </p:sp>
      <p:sp>
        <p:nvSpPr>
          <p:cNvPr id="2" name="Slide Number Placeholder 1">
            <a:extLst>
              <a:ext uri="{FF2B5EF4-FFF2-40B4-BE49-F238E27FC236}">
                <a16:creationId xmlns:a16="http://schemas.microsoft.com/office/drawing/2014/main" id="{3DAF1FF6-83BD-CD3F-ACA9-3847A49D49C3}"/>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21</a:t>
            </a:fld>
            <a:endParaRPr lang="en-US" noProof="0">
              <a:latin typeface="Arial"/>
              <a:cs typeface="Arial"/>
            </a:endParaRPr>
          </a:p>
        </p:txBody>
      </p:sp>
      <p:sp>
        <p:nvSpPr>
          <p:cNvPr id="3" name="TextBox 2">
            <a:extLst>
              <a:ext uri="{FF2B5EF4-FFF2-40B4-BE49-F238E27FC236}">
                <a16:creationId xmlns:a16="http://schemas.microsoft.com/office/drawing/2014/main" id="{A9B6433A-3584-BD51-F3B5-89DCB9E2F96D}"/>
              </a:ext>
            </a:extLst>
          </p:cNvPr>
          <p:cNvSpPr txBox="1"/>
          <p:nvPr/>
        </p:nvSpPr>
        <p:spPr>
          <a:xfrm>
            <a:off x="855863" y="1099147"/>
            <a:ext cx="10791455" cy="646331"/>
          </a:xfrm>
          <a:prstGeom prst="rect">
            <a:avLst/>
          </a:prstGeom>
          <a:noFill/>
        </p:spPr>
        <p:txBody>
          <a:bodyPr wrap="square" lIns="91440" tIns="45720" rIns="91440" bIns="45720" rtlCol="0" anchor="t">
            <a:spAutoFit/>
          </a:bodyPr>
          <a:lstStyle/>
          <a:p>
            <a:r>
              <a:rPr lang="en-US" b="1">
                <a:latin typeface="Arial"/>
                <a:cs typeface="Arial"/>
              </a:rPr>
              <a:t>Case study for California central valley, Processing Tomato whole season (field location as black dots) </a:t>
            </a:r>
          </a:p>
        </p:txBody>
      </p:sp>
      <p:pic>
        <p:nvPicPr>
          <p:cNvPr id="1026" name="Picture 2">
            <a:extLst>
              <a:ext uri="{FF2B5EF4-FFF2-40B4-BE49-F238E27FC236}">
                <a16:creationId xmlns:a16="http://schemas.microsoft.com/office/drawing/2014/main" id="{EFAF2E77-8CEC-C19A-2F55-F19157E9D2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232" y="1846464"/>
            <a:ext cx="3906771" cy="41416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A4DE5DB-293A-BB1F-C2A6-80419B433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39345" y="1846463"/>
            <a:ext cx="3941287" cy="414165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4743D17-A5AC-78AC-4269-DC8CCBE26C14}"/>
              </a:ext>
            </a:extLst>
          </p:cNvPr>
          <p:cNvSpPr txBox="1"/>
          <p:nvPr/>
        </p:nvSpPr>
        <p:spPr>
          <a:xfrm>
            <a:off x="927964" y="6055096"/>
            <a:ext cx="3493214" cy="646331"/>
          </a:xfrm>
          <a:prstGeom prst="rect">
            <a:avLst/>
          </a:prstGeom>
          <a:noFill/>
        </p:spPr>
        <p:txBody>
          <a:bodyPr wrap="square" lIns="91440" tIns="45720" rIns="91440" bIns="45720" rtlCol="0" anchor="t">
            <a:spAutoFit/>
          </a:bodyPr>
          <a:lstStyle/>
          <a:p>
            <a:pPr algn="ctr"/>
            <a:r>
              <a:rPr lang="en-US">
                <a:latin typeface="Arial"/>
                <a:cs typeface="Arial"/>
              </a:rPr>
              <a:t>Clustering Result using </a:t>
            </a:r>
          </a:p>
          <a:p>
            <a:pPr algn="ctr"/>
            <a:r>
              <a:rPr lang="en-US" u="sng">
                <a:latin typeface="Arial"/>
                <a:cs typeface="Arial"/>
              </a:rPr>
              <a:t>current</a:t>
            </a:r>
            <a:r>
              <a:rPr lang="en-US">
                <a:latin typeface="Arial"/>
                <a:cs typeface="Arial"/>
              </a:rPr>
              <a:t> Low-resolution Data </a:t>
            </a:r>
          </a:p>
        </p:txBody>
      </p:sp>
      <p:sp>
        <p:nvSpPr>
          <p:cNvPr id="6" name="TextBox 5">
            <a:extLst>
              <a:ext uri="{FF2B5EF4-FFF2-40B4-BE49-F238E27FC236}">
                <a16:creationId xmlns:a16="http://schemas.microsoft.com/office/drawing/2014/main" id="{26A6E82C-D720-1EE2-53BC-CEC07024E9CA}"/>
              </a:ext>
            </a:extLst>
          </p:cNvPr>
          <p:cNvSpPr txBox="1"/>
          <p:nvPr/>
        </p:nvSpPr>
        <p:spPr>
          <a:xfrm>
            <a:off x="5120839" y="6055096"/>
            <a:ext cx="3493214" cy="646331"/>
          </a:xfrm>
          <a:prstGeom prst="rect">
            <a:avLst/>
          </a:prstGeom>
          <a:noFill/>
        </p:spPr>
        <p:txBody>
          <a:bodyPr wrap="square" lIns="91440" tIns="45720" rIns="91440" bIns="45720" rtlCol="0" anchor="t">
            <a:spAutoFit/>
          </a:bodyPr>
          <a:lstStyle/>
          <a:p>
            <a:pPr algn="ctr"/>
            <a:r>
              <a:rPr lang="en-US">
                <a:latin typeface="Arial"/>
                <a:cs typeface="Arial"/>
              </a:rPr>
              <a:t>Clustering Result using </a:t>
            </a:r>
          </a:p>
          <a:p>
            <a:pPr algn="ctr"/>
            <a:r>
              <a:rPr lang="en-US" u="sng">
                <a:latin typeface="Arial"/>
                <a:cs typeface="Arial"/>
              </a:rPr>
              <a:t>High-resolution ARD</a:t>
            </a:r>
          </a:p>
        </p:txBody>
      </p:sp>
      <p:sp>
        <p:nvSpPr>
          <p:cNvPr id="7" name="TextBox 6">
            <a:extLst>
              <a:ext uri="{FF2B5EF4-FFF2-40B4-BE49-F238E27FC236}">
                <a16:creationId xmlns:a16="http://schemas.microsoft.com/office/drawing/2014/main" id="{75F947B2-123B-E347-59AC-F0AB539999A7}"/>
              </a:ext>
            </a:extLst>
          </p:cNvPr>
          <p:cNvSpPr txBox="1"/>
          <p:nvPr/>
        </p:nvSpPr>
        <p:spPr>
          <a:xfrm>
            <a:off x="9234035" y="1875038"/>
            <a:ext cx="2825458" cy="3370666"/>
          </a:xfrm>
          <a:prstGeom prst="rect">
            <a:avLst/>
          </a:prstGeom>
          <a:noFill/>
        </p:spPr>
        <p:txBody>
          <a:bodyPr wrap="square" lIns="91440" tIns="45720" rIns="91440" bIns="45720" rtlCol="0" anchor="t">
            <a:spAutoFit/>
          </a:bodyPr>
          <a:lstStyle/>
          <a:p>
            <a:pPr marL="285750" indent="-285750">
              <a:lnSpc>
                <a:spcPct val="150000"/>
              </a:lnSpc>
              <a:buFont typeface="Wingdings" panose="05000000000000000000" pitchFamily="2" charset="2"/>
              <a:buChar char="§"/>
            </a:pPr>
            <a:r>
              <a:rPr lang="en-US" sz="1600">
                <a:latin typeface="Arial"/>
                <a:cs typeface="Arial"/>
              </a:rPr>
              <a:t>Using new 4km ARD clearly improves t</a:t>
            </a:r>
            <a:r>
              <a:rPr lang="en-US" sz="1600" i="0">
                <a:effectLst/>
                <a:latin typeface="Arial"/>
                <a:cs typeface="Arial"/>
              </a:rPr>
              <a:t>he clustering resolution</a:t>
            </a:r>
          </a:p>
          <a:p>
            <a:pPr marL="285750" indent="-285750">
              <a:lnSpc>
                <a:spcPct val="150000"/>
              </a:lnSpc>
              <a:buFont typeface="Wingdings" panose="05000000000000000000" pitchFamily="2" charset="2"/>
              <a:buChar char="§"/>
            </a:pPr>
            <a:endParaRPr lang="en-US" sz="1600" i="0">
              <a:effectLst/>
              <a:latin typeface="Arial"/>
              <a:cs typeface="Arial"/>
            </a:endParaRPr>
          </a:p>
          <a:p>
            <a:pPr marL="285750" indent="-285750">
              <a:lnSpc>
                <a:spcPct val="150000"/>
              </a:lnSpc>
              <a:buFont typeface="Wingdings" panose="05000000000000000000" pitchFamily="2" charset="2"/>
              <a:buChar char="§"/>
            </a:pPr>
            <a:r>
              <a:rPr lang="en-US" sz="1600">
                <a:latin typeface="Arial"/>
                <a:cs typeface="Arial"/>
              </a:rPr>
              <a:t>Clustering extent has also changed, with better understanding of the field’s environmental types</a:t>
            </a:r>
            <a:r>
              <a:rPr lang="en-US" sz="1600" i="0">
                <a:effectLst/>
                <a:latin typeface="Arial"/>
                <a:cs typeface="Arial"/>
              </a:rPr>
              <a:t>.</a:t>
            </a:r>
          </a:p>
        </p:txBody>
      </p:sp>
    </p:spTree>
    <p:extLst>
      <p:ext uri="{BB962C8B-B14F-4D97-AF65-F5344CB8AC3E}">
        <p14:creationId xmlns:p14="http://schemas.microsoft.com/office/powerpoint/2010/main" val="3999969760"/>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73729" y="2378984"/>
            <a:ext cx="10044541" cy="93984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600" b="1">
                <a:solidFill>
                  <a:srgbClr val="10384F"/>
                </a:solidFill>
                <a:latin typeface="Arial"/>
                <a:cs typeface="Arial"/>
              </a:rPr>
              <a:t>5.</a:t>
            </a:r>
            <a:r>
              <a:rPr lang="en-US" sz="3600" b="1" kern="1200">
                <a:solidFill>
                  <a:srgbClr val="10384F"/>
                </a:solidFill>
                <a:latin typeface="Arial"/>
                <a:cs typeface="Arial"/>
              </a:rPr>
              <a:t> Future Steps and Summary</a:t>
            </a:r>
            <a:endParaRPr lang="en-US" sz="3600" b="1" kern="1200">
              <a:solidFill>
                <a:srgbClr val="10384F"/>
              </a:solidFill>
              <a:latin typeface="Arial"/>
              <a:cs typeface="Calibri Light"/>
            </a:endParaRPr>
          </a:p>
        </p:txBody>
      </p:sp>
      <p:sp>
        <p:nvSpPr>
          <p:cNvPr id="2" name="Slide Number Placeholder 1">
            <a:extLst>
              <a:ext uri="{FF2B5EF4-FFF2-40B4-BE49-F238E27FC236}">
                <a16:creationId xmlns:a16="http://schemas.microsoft.com/office/drawing/2014/main" id="{0B89BDD2-F5DB-123F-BC6B-2CA2B8A70DAF}"/>
              </a:ext>
            </a:extLst>
          </p:cNvPr>
          <p:cNvSpPr>
            <a:spLocks noGrp="1"/>
          </p:cNvSpPr>
          <p:nvPr>
            <p:ph type="sldNum" sz="quarter" idx="12"/>
          </p:nvPr>
        </p:nvSpPr>
        <p:spPr/>
        <p:txBody>
          <a:bodyPr/>
          <a:lstStyle/>
          <a:p>
            <a:fld id="{EEAD9179-7A6B-4268-BEB2-F3B8EB06115B}" type="slidenum">
              <a:rPr lang="en-US" noProof="0" smtClean="0"/>
              <a:t>22</a:t>
            </a:fld>
            <a:endParaRPr lang="en-US" noProof="0"/>
          </a:p>
        </p:txBody>
      </p:sp>
      <p:cxnSp>
        <p:nvCxnSpPr>
          <p:cNvPr id="5" name="Straight Connector 4">
            <a:extLst>
              <a:ext uri="{FF2B5EF4-FFF2-40B4-BE49-F238E27FC236}">
                <a16:creationId xmlns:a16="http://schemas.microsoft.com/office/drawing/2014/main" id="{7626C8EE-8744-DAF9-3469-888CF3D8D275}"/>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86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82940" y="375124"/>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Future Steps</a:t>
            </a:r>
          </a:p>
        </p:txBody>
      </p:sp>
      <p:sp>
        <p:nvSpPr>
          <p:cNvPr id="3" name="Slide Number Placeholder 2">
            <a:extLst>
              <a:ext uri="{FF2B5EF4-FFF2-40B4-BE49-F238E27FC236}">
                <a16:creationId xmlns:a16="http://schemas.microsoft.com/office/drawing/2014/main" id="{7B6B92E1-2AB9-FE4E-E2F4-AE076BC2F1C6}"/>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23</a:t>
            </a:fld>
            <a:endParaRPr lang="en-US" noProof="0">
              <a:latin typeface="Arial"/>
              <a:cs typeface="Arial"/>
            </a:endParaRPr>
          </a:p>
        </p:txBody>
      </p:sp>
      <p:graphicFrame>
        <p:nvGraphicFramePr>
          <p:cNvPr id="5" name="Diagram 4">
            <a:extLst>
              <a:ext uri="{FF2B5EF4-FFF2-40B4-BE49-F238E27FC236}">
                <a16:creationId xmlns:a16="http://schemas.microsoft.com/office/drawing/2014/main" id="{A4E8D83B-07E6-446B-4C64-9CA10E465285}"/>
              </a:ext>
            </a:extLst>
          </p:cNvPr>
          <p:cNvGraphicFramePr/>
          <p:nvPr>
            <p:extLst>
              <p:ext uri="{D42A27DB-BD31-4B8C-83A1-F6EECF244321}">
                <p14:modId xmlns:p14="http://schemas.microsoft.com/office/powerpoint/2010/main" val="1275359484"/>
              </p:ext>
            </p:extLst>
          </p:nvPr>
        </p:nvGraphicFramePr>
        <p:xfrm>
          <a:off x="439738" y="981075"/>
          <a:ext cx="11312524" cy="4381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33276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3201" y="329450"/>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Summary</a:t>
            </a:r>
          </a:p>
        </p:txBody>
      </p:sp>
      <p:sp>
        <p:nvSpPr>
          <p:cNvPr id="2" name="TextBox 1">
            <a:extLst>
              <a:ext uri="{FF2B5EF4-FFF2-40B4-BE49-F238E27FC236}">
                <a16:creationId xmlns:a16="http://schemas.microsoft.com/office/drawing/2014/main" id="{90C96AA1-6C12-6623-0754-4E4DD20BEE5B}"/>
              </a:ext>
            </a:extLst>
          </p:cNvPr>
          <p:cNvSpPr txBox="1"/>
          <p:nvPr/>
        </p:nvSpPr>
        <p:spPr>
          <a:xfrm>
            <a:off x="354963" y="1280213"/>
            <a:ext cx="11289460" cy="4992392"/>
          </a:xfrm>
          <a:prstGeom prst="rect">
            <a:avLst/>
          </a:prstGeom>
          <a:noFill/>
        </p:spPr>
        <p:txBody>
          <a:bodyPr wrap="square" lIns="91440" tIns="45720" rIns="91440" bIns="45720" rtlCol="0" anchor="t">
            <a:spAutoFit/>
          </a:bodyPr>
          <a:lstStyle/>
          <a:p>
            <a:pPr marL="800100" lvl="1" indent="-342900">
              <a:lnSpc>
                <a:spcPct val="200000"/>
              </a:lnSpc>
              <a:buAutoNum type="arabicPeriod"/>
            </a:pPr>
            <a:r>
              <a:rPr lang="en-US">
                <a:latin typeface="Arial"/>
                <a:cs typeface="Arial"/>
              </a:rPr>
              <a:t>Business Motivation: To make a scalable framework to improve performance of Env. Clustering App and other models.</a:t>
            </a:r>
            <a:endParaRPr lang="en-US"/>
          </a:p>
          <a:p>
            <a:pPr marL="800100" lvl="1" indent="-342900">
              <a:lnSpc>
                <a:spcPct val="200000"/>
              </a:lnSpc>
              <a:buAutoNum type="arabicPeriod"/>
            </a:pPr>
            <a:r>
              <a:rPr lang="en-US">
                <a:latin typeface="Arial"/>
                <a:cs typeface="Arial"/>
              </a:rPr>
              <a:t>Technical Motivation: To improve spatial resolution of weather datasets.</a:t>
            </a:r>
          </a:p>
          <a:p>
            <a:pPr marL="800100" lvl="1" indent="-342900">
              <a:lnSpc>
                <a:spcPct val="200000"/>
              </a:lnSpc>
              <a:buAutoNum type="arabicPeriod"/>
            </a:pPr>
            <a:r>
              <a:rPr lang="en-US">
                <a:latin typeface="Arial"/>
                <a:cs typeface="Arial"/>
              </a:rPr>
              <a:t>The framework included machine/deep learning + spatial interpolation methods.</a:t>
            </a:r>
          </a:p>
          <a:p>
            <a:pPr marL="800100" lvl="1" indent="-342900">
              <a:lnSpc>
                <a:spcPct val="200000"/>
              </a:lnSpc>
              <a:buAutoNum type="arabicPeriod"/>
            </a:pPr>
            <a:r>
              <a:rPr lang="en-US">
                <a:latin typeface="Arial"/>
                <a:cs typeface="Arial"/>
              </a:rPr>
              <a:t>ERA5 weather and elevation data were used as input datasets and TWC weather data as target/training data.</a:t>
            </a:r>
          </a:p>
          <a:p>
            <a:pPr marL="800100" lvl="1" indent="-342900">
              <a:lnSpc>
                <a:spcPct val="200000"/>
              </a:lnSpc>
              <a:buAutoNum type="arabicPeriod"/>
            </a:pPr>
            <a:r>
              <a:rPr lang="en-US">
                <a:latin typeface="Arial"/>
                <a:cs typeface="Arial"/>
              </a:rPr>
              <a:t>Results show improved spatial resolution for all weather models, except total precipitation model.</a:t>
            </a:r>
          </a:p>
          <a:p>
            <a:pPr marL="800100" lvl="1" indent="-342900">
              <a:lnSpc>
                <a:spcPct val="200000"/>
              </a:lnSpc>
              <a:buAutoNum type="arabicPeriod"/>
            </a:pPr>
            <a:r>
              <a:rPr lang="en-US">
                <a:latin typeface="Arial"/>
                <a:cs typeface="Arial"/>
              </a:rPr>
              <a:t>The framework was applied to create 4km and 100m resolution ARD.</a:t>
            </a:r>
          </a:p>
          <a:p>
            <a:pPr marL="800100" lvl="1" indent="-342900">
              <a:lnSpc>
                <a:spcPct val="200000"/>
              </a:lnSpc>
              <a:buAutoNum type="arabicPeriod"/>
            </a:pPr>
            <a:r>
              <a:rPr lang="en-US">
                <a:latin typeface="Arial"/>
                <a:cs typeface="Arial"/>
              </a:rPr>
              <a:t>The 4km ARD improves performance of the Env. Clustering App.</a:t>
            </a:r>
          </a:p>
        </p:txBody>
      </p:sp>
      <p:sp>
        <p:nvSpPr>
          <p:cNvPr id="3" name="Slide Number Placeholder 2">
            <a:extLst>
              <a:ext uri="{FF2B5EF4-FFF2-40B4-BE49-F238E27FC236}">
                <a16:creationId xmlns:a16="http://schemas.microsoft.com/office/drawing/2014/main" id="{7B6B92E1-2AB9-FE4E-E2F4-AE076BC2F1C6}"/>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24</a:t>
            </a:fld>
            <a:endParaRPr lang="en-US" noProof="0">
              <a:latin typeface="Arial"/>
              <a:cs typeface="Arial"/>
            </a:endParaRPr>
          </a:p>
        </p:txBody>
      </p:sp>
    </p:spTree>
    <p:extLst>
      <p:ext uri="{BB962C8B-B14F-4D97-AF65-F5344CB8AC3E}">
        <p14:creationId xmlns:p14="http://schemas.microsoft.com/office/powerpoint/2010/main" val="19834121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03883" y="458648"/>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Acknowledgement</a:t>
            </a:r>
          </a:p>
        </p:txBody>
      </p:sp>
      <p:sp>
        <p:nvSpPr>
          <p:cNvPr id="7" name="TextBox 6">
            <a:extLst>
              <a:ext uri="{FF2B5EF4-FFF2-40B4-BE49-F238E27FC236}">
                <a16:creationId xmlns:a16="http://schemas.microsoft.com/office/drawing/2014/main" id="{CD5ED03A-3B9D-9120-10C9-16CF3D860C61}"/>
              </a:ext>
            </a:extLst>
          </p:cNvPr>
          <p:cNvSpPr txBox="1"/>
          <p:nvPr/>
        </p:nvSpPr>
        <p:spPr>
          <a:xfrm>
            <a:off x="1075802" y="1456493"/>
            <a:ext cx="4334398" cy="4291944"/>
          </a:xfrm>
          <a:prstGeom prst="rect">
            <a:avLst/>
          </a:prstGeom>
          <a:noFill/>
        </p:spPr>
        <p:txBody>
          <a:bodyPr wrap="square" lIns="91440" tIns="45720" rIns="91440" bIns="45720" rtlCol="0" anchor="t">
            <a:spAutoFit/>
          </a:bodyPr>
          <a:lstStyle/>
          <a:p>
            <a:pPr marL="285750" indent="-285750">
              <a:lnSpc>
                <a:spcPct val="150000"/>
              </a:lnSpc>
              <a:buFont typeface="Wingdings" panose="05000000000000000000" pitchFamily="2" charset="2"/>
              <a:buChar char="§"/>
            </a:pPr>
            <a:r>
              <a:rPr lang="en-US" sz="2400" b="1">
                <a:latin typeface="Arial"/>
                <a:cs typeface="Arial"/>
              </a:rPr>
              <a:t>Veg R&amp;D</a:t>
            </a:r>
          </a:p>
          <a:p>
            <a:pPr marL="742950" lvl="1" indent="-285750">
              <a:lnSpc>
                <a:spcPct val="150000"/>
              </a:lnSpc>
              <a:buFont typeface="Courier New,monospace" panose="02070309020205020404" pitchFamily="49" charset="0"/>
              <a:buChar char="o"/>
            </a:pPr>
            <a:r>
              <a:rPr lang="en-US" sz="2000">
                <a:latin typeface="Arial"/>
                <a:cs typeface="Calibri"/>
              </a:rPr>
              <a:t>Ariel Wang</a:t>
            </a:r>
          </a:p>
          <a:p>
            <a:pPr marL="742950" lvl="1" indent="-285750">
              <a:lnSpc>
                <a:spcPct val="150000"/>
              </a:lnSpc>
              <a:buFont typeface="Courier New,monospace" panose="02070309020205020404" pitchFamily="49" charset="0"/>
              <a:buChar char="o"/>
            </a:pPr>
            <a:r>
              <a:rPr lang="en-US" sz="2000">
                <a:latin typeface="Arial"/>
                <a:cs typeface="Calibri"/>
              </a:rPr>
              <a:t>Feng Yu</a:t>
            </a:r>
          </a:p>
          <a:p>
            <a:pPr marL="742950" lvl="1" indent="-285750">
              <a:lnSpc>
                <a:spcPct val="150000"/>
              </a:lnSpc>
              <a:buFont typeface="Courier New,monospace" panose="02070309020205020404" pitchFamily="49" charset="0"/>
              <a:buChar char="o"/>
            </a:pPr>
            <a:r>
              <a:rPr lang="en-US" sz="2000">
                <a:latin typeface="Arial"/>
                <a:cs typeface="Calibri"/>
              </a:rPr>
              <a:t>Kyle Cheung</a:t>
            </a:r>
          </a:p>
          <a:p>
            <a:pPr marL="742950" lvl="1" indent="-285750">
              <a:lnSpc>
                <a:spcPct val="150000"/>
              </a:lnSpc>
              <a:buFont typeface="Courier New,monospace" panose="02070309020205020404" pitchFamily="49" charset="0"/>
              <a:buChar char="o"/>
            </a:pPr>
            <a:r>
              <a:rPr lang="en-US" sz="2000">
                <a:latin typeface="Arial"/>
                <a:cs typeface="Calibri"/>
              </a:rPr>
              <a:t>Ignasi Montero Serra</a:t>
            </a:r>
          </a:p>
          <a:p>
            <a:pPr marL="742950" lvl="1" indent="-285750">
              <a:lnSpc>
                <a:spcPct val="150000"/>
              </a:lnSpc>
              <a:buFont typeface="Courier New,monospace" panose="02070309020205020404" pitchFamily="49" charset="0"/>
              <a:buChar char="o"/>
            </a:pPr>
            <a:r>
              <a:rPr lang="en-US" sz="2000">
                <a:latin typeface="Arial"/>
                <a:cs typeface="Calibri"/>
              </a:rPr>
              <a:t>Xing Weng</a:t>
            </a:r>
          </a:p>
          <a:p>
            <a:pPr marL="742950" lvl="1" indent="-285750">
              <a:lnSpc>
                <a:spcPct val="150000"/>
              </a:lnSpc>
              <a:buFont typeface="Courier New,monospace" panose="02070309020205020404" pitchFamily="49" charset="0"/>
              <a:buChar char="o"/>
            </a:pPr>
            <a:r>
              <a:rPr lang="en-US" sz="2000">
                <a:latin typeface="Arial"/>
                <a:cs typeface="Calibri"/>
              </a:rPr>
              <a:t>Sean Rogerson</a:t>
            </a:r>
            <a:endParaRPr lang="en-US">
              <a:latin typeface="Arial"/>
              <a:cs typeface="Arial"/>
            </a:endParaRPr>
          </a:p>
          <a:p>
            <a:pPr marL="742950" lvl="1" indent="-285750">
              <a:lnSpc>
                <a:spcPct val="150000"/>
              </a:lnSpc>
              <a:buFont typeface="Courier New" panose="02070309020205020404" pitchFamily="49" charset="0"/>
              <a:buChar char="o"/>
            </a:pPr>
            <a:r>
              <a:rPr lang="en-US" sz="2000">
                <a:latin typeface="Arial"/>
                <a:cs typeface="Calibri"/>
              </a:rPr>
              <a:t>Nan An</a:t>
            </a:r>
          </a:p>
          <a:p>
            <a:pPr marL="742950" lvl="1" indent="-285750">
              <a:lnSpc>
                <a:spcPct val="150000"/>
              </a:lnSpc>
              <a:buFont typeface="Courier New" panose="02070309020205020404" pitchFamily="49" charset="0"/>
              <a:buChar char="o"/>
            </a:pPr>
            <a:r>
              <a:rPr lang="en-US" sz="2000" i="0">
                <a:effectLst/>
                <a:latin typeface="Arial"/>
                <a:cs typeface="Arial"/>
              </a:rPr>
              <a:t>Martin Mendez-</a:t>
            </a:r>
            <a:r>
              <a:rPr lang="en-US" sz="2000" i="0" err="1">
                <a:effectLst/>
                <a:latin typeface="Arial"/>
                <a:cs typeface="Arial"/>
              </a:rPr>
              <a:t>Costabel</a:t>
            </a:r>
            <a:endParaRPr lang="en-US" sz="2000">
              <a:latin typeface="Arial"/>
              <a:cs typeface="Arial"/>
            </a:endParaRPr>
          </a:p>
        </p:txBody>
      </p:sp>
      <p:sp>
        <p:nvSpPr>
          <p:cNvPr id="12" name="Slide Number Placeholder 11">
            <a:extLst>
              <a:ext uri="{FF2B5EF4-FFF2-40B4-BE49-F238E27FC236}">
                <a16:creationId xmlns:a16="http://schemas.microsoft.com/office/drawing/2014/main" id="{CA054FAF-ADBE-038A-975C-DE37BB0A3D5F}"/>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25</a:t>
            </a:fld>
            <a:endParaRPr lang="en-US" noProof="0">
              <a:latin typeface="Arial"/>
              <a:cs typeface="Arial"/>
            </a:endParaRPr>
          </a:p>
        </p:txBody>
      </p:sp>
      <p:sp>
        <p:nvSpPr>
          <p:cNvPr id="13" name="TextBox 12">
            <a:extLst>
              <a:ext uri="{FF2B5EF4-FFF2-40B4-BE49-F238E27FC236}">
                <a16:creationId xmlns:a16="http://schemas.microsoft.com/office/drawing/2014/main" id="{24CB8F9A-8CB9-451B-64A8-F41B39D37A3B}"/>
              </a:ext>
            </a:extLst>
          </p:cNvPr>
          <p:cNvSpPr txBox="1"/>
          <p:nvPr/>
        </p:nvSpPr>
        <p:spPr>
          <a:xfrm>
            <a:off x="6431713" y="1612155"/>
            <a:ext cx="4238625" cy="226061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2400" b="1">
                <a:latin typeface="Arial"/>
                <a:cs typeface="Arial"/>
              </a:rPr>
              <a:t>Location 360</a:t>
            </a:r>
          </a:p>
          <a:p>
            <a:pPr marL="800100" indent="-342900">
              <a:lnSpc>
                <a:spcPct val="150000"/>
              </a:lnSpc>
              <a:buFont typeface="Courier New" panose="02070309020205020404" pitchFamily="49" charset="0"/>
              <a:buChar char="o"/>
            </a:pPr>
            <a:r>
              <a:rPr lang="en-US" sz="2000">
                <a:latin typeface="Arial"/>
                <a:cs typeface="Calibri"/>
              </a:rPr>
              <a:t>Ugochukwu </a:t>
            </a:r>
            <a:r>
              <a:rPr lang="en-US" sz="2000" err="1">
                <a:latin typeface="Arial"/>
                <a:cs typeface="Calibri"/>
              </a:rPr>
              <a:t>Umeokafor</a:t>
            </a:r>
            <a:endParaRPr lang="en-US" sz="2000">
              <a:latin typeface="Arial"/>
              <a:cs typeface="Calibri"/>
            </a:endParaRPr>
          </a:p>
          <a:p>
            <a:pPr marL="800100" lvl="1" indent="-342900">
              <a:lnSpc>
                <a:spcPct val="150000"/>
              </a:lnSpc>
              <a:buFont typeface="Courier New" panose="02070309020205020404" pitchFamily="49" charset="0"/>
              <a:buChar char="o"/>
            </a:pPr>
            <a:r>
              <a:rPr lang="en-US" sz="2000">
                <a:latin typeface="Arial"/>
                <a:cs typeface="Arial"/>
              </a:rPr>
              <a:t>Qing Liu</a:t>
            </a:r>
          </a:p>
          <a:p>
            <a:pPr marL="800100" lvl="1" indent="-342900">
              <a:lnSpc>
                <a:spcPct val="150000"/>
              </a:lnSpc>
              <a:buFont typeface="Courier New" panose="02070309020205020404" pitchFamily="49" charset="0"/>
              <a:buChar char="o"/>
            </a:pPr>
            <a:r>
              <a:rPr lang="en-US" sz="2000">
                <a:latin typeface="Arial"/>
                <a:cs typeface="Arial"/>
              </a:rPr>
              <a:t>Paul </a:t>
            </a:r>
            <a:r>
              <a:rPr lang="en-US" sz="2000" err="1">
                <a:latin typeface="Arial"/>
                <a:cs typeface="Arial"/>
              </a:rPr>
              <a:t>Trudt</a:t>
            </a:r>
            <a:endParaRPr lang="en-US" sz="2000">
              <a:latin typeface="Arial"/>
              <a:cs typeface="Arial"/>
            </a:endParaRPr>
          </a:p>
          <a:p>
            <a:pPr marL="800100" lvl="1" indent="-342900">
              <a:lnSpc>
                <a:spcPct val="150000"/>
              </a:lnSpc>
              <a:buFont typeface="Courier New" panose="02070309020205020404" pitchFamily="49" charset="0"/>
              <a:buChar char="o"/>
            </a:pPr>
            <a:r>
              <a:rPr lang="en-US" sz="2000">
                <a:latin typeface="Arial"/>
                <a:ea typeface="+mn-lt"/>
                <a:cs typeface="+mn-lt"/>
              </a:rPr>
              <a:t>Bobby Brauer</a:t>
            </a:r>
            <a:endParaRPr lang="en-US" sz="2000">
              <a:latin typeface="Arial"/>
              <a:cs typeface="Calibri"/>
            </a:endParaRPr>
          </a:p>
        </p:txBody>
      </p:sp>
    </p:spTree>
    <p:extLst>
      <p:ext uri="{BB962C8B-B14F-4D97-AF65-F5344CB8AC3E}">
        <p14:creationId xmlns:p14="http://schemas.microsoft.com/office/powerpoint/2010/main" val="1968008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6BA84-DCD5-9E45-57C1-47E4B920DEDD}"/>
              </a:ext>
            </a:extLst>
          </p:cNvPr>
          <p:cNvSpPr>
            <a:spLocks noGrp="1"/>
          </p:cNvSpPr>
          <p:nvPr>
            <p:ph type="ctrTitle"/>
          </p:nvPr>
        </p:nvSpPr>
        <p:spPr>
          <a:xfrm>
            <a:off x="901164" y="1661332"/>
            <a:ext cx="4832796" cy="3067119"/>
          </a:xfrm>
        </p:spPr>
        <p:txBody>
          <a:bodyPr>
            <a:normAutofit fontScale="90000"/>
          </a:bodyPr>
          <a:lstStyle/>
          <a:p>
            <a:pPr>
              <a:lnSpc>
                <a:spcPct val="200000"/>
              </a:lnSpc>
            </a:pPr>
            <a:r>
              <a:rPr lang="en-US" i="1">
                <a:solidFill>
                  <a:srgbClr val="10384F"/>
                </a:solidFill>
                <a:latin typeface="Arial"/>
                <a:cs typeface="Arial"/>
              </a:rPr>
              <a:t>Thank you!</a:t>
            </a:r>
            <a:br>
              <a:rPr lang="en-US" i="1">
                <a:latin typeface="Arial"/>
              </a:rPr>
            </a:br>
            <a:r>
              <a:rPr lang="en-US" i="1">
                <a:solidFill>
                  <a:srgbClr val="10384F"/>
                </a:solidFill>
                <a:latin typeface="Arial"/>
                <a:cs typeface="Arial"/>
              </a:rPr>
              <a:t>Questions?</a:t>
            </a:r>
            <a:endParaRPr lang="en-US"/>
          </a:p>
        </p:txBody>
      </p:sp>
      <p:pic>
        <p:nvPicPr>
          <p:cNvPr id="4" name="Picture 3" descr="A picture containing circle, graphics, font, symbol&#10;&#10;Description automatically generated">
            <a:extLst>
              <a:ext uri="{FF2B5EF4-FFF2-40B4-BE49-F238E27FC236}">
                <a16:creationId xmlns:a16="http://schemas.microsoft.com/office/drawing/2014/main" id="{89D577D2-D5F0-BCAC-5B1D-9DBE5C9E47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4515" y="1135304"/>
            <a:ext cx="3956987" cy="3956987"/>
          </a:xfrm>
          <a:prstGeom prst="rect">
            <a:avLst/>
          </a:prstGeom>
        </p:spPr>
      </p:pic>
    </p:spTree>
    <p:extLst>
      <p:ext uri="{BB962C8B-B14F-4D97-AF65-F5344CB8AC3E}">
        <p14:creationId xmlns:p14="http://schemas.microsoft.com/office/powerpoint/2010/main" val="23409663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524000" y="2697396"/>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i="1" u="sng">
                <a:solidFill>
                  <a:schemeClr val="accent1">
                    <a:lumMod val="50000"/>
                  </a:schemeClr>
                </a:solidFill>
                <a:latin typeface="Calibri Light" panose="020F0302020204030204" pitchFamily="34" charset="0"/>
              </a:rPr>
              <a:t>Additional Slides</a:t>
            </a:r>
            <a:endParaRPr lang="en-US" sz="4000" i="1" u="sng">
              <a:solidFill>
                <a:schemeClr val="accent1">
                  <a:lumMod val="50000"/>
                </a:schemeClr>
              </a:solidFill>
            </a:endParaRPr>
          </a:p>
        </p:txBody>
      </p:sp>
      <p:sp>
        <p:nvSpPr>
          <p:cNvPr id="2" name="Slide Number Placeholder 1">
            <a:extLst>
              <a:ext uri="{FF2B5EF4-FFF2-40B4-BE49-F238E27FC236}">
                <a16:creationId xmlns:a16="http://schemas.microsoft.com/office/drawing/2014/main" id="{6DC7D8B5-FDA8-2CF0-13A4-9B583F7BAACF}"/>
              </a:ext>
            </a:extLst>
          </p:cNvPr>
          <p:cNvSpPr>
            <a:spLocks noGrp="1"/>
          </p:cNvSpPr>
          <p:nvPr>
            <p:ph type="sldNum" sz="quarter" idx="12"/>
          </p:nvPr>
        </p:nvSpPr>
        <p:spPr/>
        <p:txBody>
          <a:bodyPr/>
          <a:lstStyle/>
          <a:p>
            <a:fld id="{EEAD9179-7A6B-4268-BEB2-F3B8EB06115B}" type="slidenum">
              <a:rPr lang="en-US" noProof="0" smtClean="0"/>
              <a:t>27</a:t>
            </a:fld>
            <a:endParaRPr lang="en-US" noProof="0"/>
          </a:p>
        </p:txBody>
      </p:sp>
    </p:spTree>
    <p:extLst>
      <p:ext uri="{BB962C8B-B14F-4D97-AF65-F5344CB8AC3E}">
        <p14:creationId xmlns:p14="http://schemas.microsoft.com/office/powerpoint/2010/main" val="1245895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Weather Datasets in ARD </a:t>
            </a:r>
          </a:p>
        </p:txBody>
      </p:sp>
      <p:sp>
        <p:nvSpPr>
          <p:cNvPr id="4" name="Text Placeholder 3">
            <a:extLst>
              <a:ext uri="{FF2B5EF4-FFF2-40B4-BE49-F238E27FC236}">
                <a16:creationId xmlns:a16="http://schemas.microsoft.com/office/drawing/2014/main" id="{59A6018B-9E1B-2CF1-7DA2-59B339EE12B2}"/>
              </a:ext>
            </a:extLst>
          </p:cNvPr>
          <p:cNvSpPr txBox="1">
            <a:spLocks/>
          </p:cNvSpPr>
          <p:nvPr/>
        </p:nvSpPr>
        <p:spPr>
          <a:xfrm>
            <a:off x="1060581" y="1228546"/>
            <a:ext cx="10658667" cy="60658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t>ML/DL models have been used to generate daily data records for a 20 years timeline at high spatial resolution (4km) for </a:t>
            </a:r>
            <a:r>
              <a:rPr lang="en-US" sz="2000">
                <a:solidFill>
                  <a:srgbClr val="0070C0"/>
                </a:solidFill>
              </a:rPr>
              <a:t>six (6) weather variables</a:t>
            </a:r>
            <a:r>
              <a:rPr lang="en-US" sz="2000"/>
              <a:t>.  </a:t>
            </a:r>
          </a:p>
        </p:txBody>
      </p:sp>
      <p:sp>
        <p:nvSpPr>
          <p:cNvPr id="14" name="TextBox 13">
            <a:extLst>
              <a:ext uri="{FF2B5EF4-FFF2-40B4-BE49-F238E27FC236}">
                <a16:creationId xmlns:a16="http://schemas.microsoft.com/office/drawing/2014/main" id="{C1FF783D-9D48-5F9F-F53C-427DF5C7F34C}"/>
              </a:ext>
            </a:extLst>
          </p:cNvPr>
          <p:cNvSpPr txBox="1"/>
          <p:nvPr/>
        </p:nvSpPr>
        <p:spPr>
          <a:xfrm>
            <a:off x="1060581" y="4567649"/>
            <a:ext cx="10733312" cy="1631216"/>
          </a:xfrm>
          <a:prstGeom prst="rect">
            <a:avLst/>
          </a:prstGeom>
          <a:noFill/>
        </p:spPr>
        <p:txBody>
          <a:bodyPr wrap="square">
            <a:spAutoFit/>
          </a:bodyPr>
          <a:lstStyle/>
          <a:p>
            <a:r>
              <a:rPr lang="en-US" sz="2000" b="1">
                <a:solidFill>
                  <a:schemeClr val="accent6">
                    <a:lumMod val="75000"/>
                  </a:schemeClr>
                </a:solidFill>
              </a:rPr>
              <a:t>Three (3) </a:t>
            </a:r>
            <a:r>
              <a:rPr lang="en-US" sz="2000" b="1"/>
              <a:t>weather variables directly resampled to 4km due to unavailability of TWC dataset as observed/training data- </a:t>
            </a:r>
          </a:p>
          <a:p>
            <a:pPr marL="971550" lvl="1" indent="-514350">
              <a:buFont typeface="+mj-lt"/>
              <a:buAutoNum type="romanLcPeriod" startAt="7"/>
            </a:pPr>
            <a:r>
              <a:rPr lang="en-US" sz="2000">
                <a:solidFill>
                  <a:schemeClr val="accent6">
                    <a:lumMod val="75000"/>
                  </a:schemeClr>
                </a:solidFill>
              </a:rPr>
              <a:t>Max Relative Humidity</a:t>
            </a:r>
          </a:p>
          <a:p>
            <a:pPr marL="971550" lvl="1" indent="-514350">
              <a:buFont typeface="+mj-lt"/>
              <a:buAutoNum type="romanLcPeriod" startAt="7"/>
            </a:pPr>
            <a:r>
              <a:rPr lang="en-US" sz="2000">
                <a:solidFill>
                  <a:schemeClr val="accent6">
                    <a:lumMod val="75000"/>
                  </a:schemeClr>
                </a:solidFill>
              </a:rPr>
              <a:t>Min Relative Humidity</a:t>
            </a:r>
          </a:p>
          <a:p>
            <a:pPr marL="971550" lvl="1" indent="-514350">
              <a:buFont typeface="+mj-lt"/>
              <a:buAutoNum type="romanLcPeriod" startAt="7"/>
            </a:pPr>
            <a:r>
              <a:rPr lang="en-US" sz="2000">
                <a:solidFill>
                  <a:schemeClr val="accent6">
                    <a:lumMod val="75000"/>
                  </a:schemeClr>
                </a:solidFill>
              </a:rPr>
              <a:t>Total Net Solar Radiation</a:t>
            </a:r>
          </a:p>
        </p:txBody>
      </p:sp>
      <p:sp>
        <p:nvSpPr>
          <p:cNvPr id="18" name="TextBox 17">
            <a:extLst>
              <a:ext uri="{FF2B5EF4-FFF2-40B4-BE49-F238E27FC236}">
                <a16:creationId xmlns:a16="http://schemas.microsoft.com/office/drawing/2014/main" id="{40D5597F-54EF-1475-073B-DAC1B7EDD096}"/>
              </a:ext>
            </a:extLst>
          </p:cNvPr>
          <p:cNvSpPr txBox="1"/>
          <p:nvPr/>
        </p:nvSpPr>
        <p:spPr>
          <a:xfrm>
            <a:off x="1060581" y="1955055"/>
            <a:ext cx="6181530" cy="2246769"/>
          </a:xfrm>
          <a:prstGeom prst="rect">
            <a:avLst/>
          </a:prstGeom>
          <a:noFill/>
        </p:spPr>
        <p:txBody>
          <a:bodyPr wrap="square">
            <a:spAutoFit/>
          </a:bodyPr>
          <a:lstStyle/>
          <a:p>
            <a:r>
              <a:rPr lang="en-US" sz="2000" b="1"/>
              <a:t>ML/DL models for improving resolution of datasets-</a:t>
            </a:r>
          </a:p>
          <a:p>
            <a:pPr marL="971550" lvl="1" indent="-514350">
              <a:buFont typeface="+mj-lt"/>
              <a:buAutoNum type="romanLcPeriod"/>
            </a:pPr>
            <a:r>
              <a:rPr lang="en-US" sz="2000">
                <a:solidFill>
                  <a:srgbClr val="0070C0"/>
                </a:solidFill>
              </a:rPr>
              <a:t>Max Temperature</a:t>
            </a:r>
          </a:p>
          <a:p>
            <a:pPr marL="971550" lvl="1" indent="-514350">
              <a:buFont typeface="+mj-lt"/>
              <a:buAutoNum type="romanLcPeriod"/>
            </a:pPr>
            <a:r>
              <a:rPr lang="en-US" sz="2000">
                <a:solidFill>
                  <a:srgbClr val="0070C0"/>
                </a:solidFill>
              </a:rPr>
              <a:t>Min Temperature</a:t>
            </a:r>
          </a:p>
          <a:p>
            <a:pPr marL="971550" lvl="1" indent="-514350">
              <a:buFont typeface="+mj-lt"/>
              <a:buAutoNum type="romanLcPeriod"/>
            </a:pPr>
            <a:r>
              <a:rPr lang="en-US" sz="2000">
                <a:solidFill>
                  <a:srgbClr val="0070C0"/>
                </a:solidFill>
              </a:rPr>
              <a:t>Average Temperature</a:t>
            </a:r>
          </a:p>
          <a:p>
            <a:pPr marL="971550" lvl="1" indent="-514350">
              <a:buFont typeface="+mj-lt"/>
              <a:buAutoNum type="romanLcPeriod"/>
            </a:pPr>
            <a:r>
              <a:rPr lang="en-US" sz="2000">
                <a:solidFill>
                  <a:srgbClr val="0070C0"/>
                </a:solidFill>
              </a:rPr>
              <a:t>Average Relative Humidity</a:t>
            </a:r>
          </a:p>
          <a:p>
            <a:pPr marL="971550" lvl="1" indent="-514350">
              <a:buFont typeface="+mj-lt"/>
              <a:buAutoNum type="romanLcPeriod"/>
            </a:pPr>
            <a:r>
              <a:rPr lang="en-US" sz="2000">
                <a:solidFill>
                  <a:srgbClr val="0070C0"/>
                </a:solidFill>
              </a:rPr>
              <a:t>Average Wind Speed</a:t>
            </a:r>
          </a:p>
          <a:p>
            <a:pPr marL="971550" lvl="1" indent="-514350">
              <a:buFont typeface="+mj-lt"/>
              <a:buAutoNum type="romanLcPeriod"/>
            </a:pPr>
            <a:r>
              <a:rPr lang="en-US" sz="2000">
                <a:solidFill>
                  <a:srgbClr val="0070C0"/>
                </a:solidFill>
              </a:rPr>
              <a:t>Total Precipitation</a:t>
            </a:r>
          </a:p>
        </p:txBody>
      </p:sp>
      <p:sp>
        <p:nvSpPr>
          <p:cNvPr id="2" name="Slide Number Placeholder 1">
            <a:extLst>
              <a:ext uri="{FF2B5EF4-FFF2-40B4-BE49-F238E27FC236}">
                <a16:creationId xmlns:a16="http://schemas.microsoft.com/office/drawing/2014/main" id="{01022AA2-4ED6-33F1-DCC7-83E7BA387B4B}"/>
              </a:ext>
            </a:extLst>
          </p:cNvPr>
          <p:cNvSpPr>
            <a:spLocks noGrp="1"/>
          </p:cNvSpPr>
          <p:nvPr>
            <p:ph type="sldNum" sz="quarter" idx="12"/>
          </p:nvPr>
        </p:nvSpPr>
        <p:spPr/>
        <p:txBody>
          <a:bodyPr/>
          <a:lstStyle/>
          <a:p>
            <a:fld id="{EEAD9179-7A6B-4268-BEB2-F3B8EB06115B}" type="slidenum">
              <a:rPr lang="en-US" noProof="0" smtClean="0"/>
              <a:t>28</a:t>
            </a:fld>
            <a:endParaRPr lang="en-US" noProof="0"/>
          </a:p>
        </p:txBody>
      </p:sp>
      <p:sp>
        <p:nvSpPr>
          <p:cNvPr id="3" name="Right Brace 2">
            <a:extLst>
              <a:ext uri="{FF2B5EF4-FFF2-40B4-BE49-F238E27FC236}">
                <a16:creationId xmlns:a16="http://schemas.microsoft.com/office/drawing/2014/main" id="{82FC25AD-18AE-B2B3-F3B0-2C8C399F9ACC}"/>
              </a:ext>
            </a:extLst>
          </p:cNvPr>
          <p:cNvSpPr/>
          <p:nvPr/>
        </p:nvSpPr>
        <p:spPr>
          <a:xfrm>
            <a:off x="4776185" y="2432481"/>
            <a:ext cx="1677881" cy="1296139"/>
          </a:xfrm>
          <a:prstGeom prst="rightBrace">
            <a:avLst/>
          </a:prstGeom>
        </p:spPr>
        <p:style>
          <a:lnRef idx="2">
            <a:schemeClr val="accent2"/>
          </a:lnRef>
          <a:fillRef idx="0">
            <a:schemeClr val="accent2"/>
          </a:fillRef>
          <a:effectRef idx="1">
            <a:schemeClr val="accent2"/>
          </a:effectRef>
          <a:fontRef idx="minor">
            <a:schemeClr val="tx1"/>
          </a:fontRef>
        </p:style>
        <p:txBody>
          <a:bodyPr rtlCol="0" anchor="ctr"/>
          <a:lstStyle/>
          <a:p>
            <a:pPr algn="ctr"/>
            <a:endParaRPr lang="en-US"/>
          </a:p>
        </p:txBody>
      </p:sp>
      <p:sp>
        <p:nvSpPr>
          <p:cNvPr id="5" name="TextBox 4">
            <a:extLst>
              <a:ext uri="{FF2B5EF4-FFF2-40B4-BE49-F238E27FC236}">
                <a16:creationId xmlns:a16="http://schemas.microsoft.com/office/drawing/2014/main" id="{BB2E9326-B87B-561A-0C43-2FA1589C1E1C}"/>
              </a:ext>
            </a:extLst>
          </p:cNvPr>
          <p:cNvSpPr txBox="1"/>
          <p:nvPr/>
        </p:nvSpPr>
        <p:spPr>
          <a:xfrm>
            <a:off x="6525087" y="2885243"/>
            <a:ext cx="2024109" cy="369332"/>
          </a:xfrm>
          <a:prstGeom prst="rect">
            <a:avLst/>
          </a:prstGeom>
          <a:noFill/>
        </p:spPr>
        <p:txBody>
          <a:bodyPr wrap="square" rtlCol="0">
            <a:spAutoFit/>
          </a:bodyPr>
          <a:lstStyle/>
          <a:p>
            <a:r>
              <a:rPr lang="en-US"/>
              <a:t>Machine Learning</a:t>
            </a:r>
          </a:p>
        </p:txBody>
      </p:sp>
      <p:cxnSp>
        <p:nvCxnSpPr>
          <p:cNvPr id="7" name="Straight Arrow Connector 6">
            <a:extLst>
              <a:ext uri="{FF2B5EF4-FFF2-40B4-BE49-F238E27FC236}">
                <a16:creationId xmlns:a16="http://schemas.microsoft.com/office/drawing/2014/main" id="{CABDFA14-5BEF-5327-5B2E-74E7D0B33773}"/>
              </a:ext>
            </a:extLst>
          </p:cNvPr>
          <p:cNvCxnSpPr>
            <a:cxnSpLocks/>
          </p:cNvCxnSpPr>
          <p:nvPr/>
        </p:nvCxnSpPr>
        <p:spPr>
          <a:xfrm>
            <a:off x="4776185" y="4012707"/>
            <a:ext cx="167788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10" name="TextBox 9">
            <a:extLst>
              <a:ext uri="{FF2B5EF4-FFF2-40B4-BE49-F238E27FC236}">
                <a16:creationId xmlns:a16="http://schemas.microsoft.com/office/drawing/2014/main" id="{454EFFA5-D86E-C126-6656-4E36F38880CE}"/>
              </a:ext>
            </a:extLst>
          </p:cNvPr>
          <p:cNvSpPr txBox="1"/>
          <p:nvPr/>
        </p:nvSpPr>
        <p:spPr>
          <a:xfrm>
            <a:off x="6525087" y="3806478"/>
            <a:ext cx="3950563" cy="369332"/>
          </a:xfrm>
          <a:prstGeom prst="rect">
            <a:avLst/>
          </a:prstGeom>
          <a:noFill/>
        </p:spPr>
        <p:txBody>
          <a:bodyPr wrap="square" rtlCol="0">
            <a:spAutoFit/>
          </a:bodyPr>
          <a:lstStyle/>
          <a:p>
            <a:r>
              <a:rPr lang="en-US"/>
              <a:t>Deep Learning</a:t>
            </a:r>
          </a:p>
        </p:txBody>
      </p:sp>
    </p:spTree>
    <p:extLst>
      <p:ext uri="{BB962C8B-B14F-4D97-AF65-F5344CB8AC3E}">
        <p14:creationId xmlns:p14="http://schemas.microsoft.com/office/powerpoint/2010/main" val="24775691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Pre-processing Datasets for ML/DL</a:t>
            </a:r>
          </a:p>
        </p:txBody>
      </p:sp>
      <p:sp>
        <p:nvSpPr>
          <p:cNvPr id="20" name="TextBox 19">
            <a:extLst>
              <a:ext uri="{FF2B5EF4-FFF2-40B4-BE49-F238E27FC236}">
                <a16:creationId xmlns:a16="http://schemas.microsoft.com/office/drawing/2014/main" id="{D8E263AE-6047-CA16-0E7E-853CAB8E6BF3}"/>
              </a:ext>
            </a:extLst>
          </p:cNvPr>
          <p:cNvSpPr txBox="1"/>
          <p:nvPr/>
        </p:nvSpPr>
        <p:spPr>
          <a:xfrm>
            <a:off x="1060582" y="1338658"/>
            <a:ext cx="9574867" cy="3083921"/>
          </a:xfrm>
          <a:prstGeom prst="rect">
            <a:avLst/>
          </a:prstGeom>
          <a:noFill/>
        </p:spPr>
        <p:txBody>
          <a:bodyPr wrap="square" lIns="91440" tIns="45720" rIns="91440" bIns="45720" anchor="t">
            <a:spAutoFit/>
          </a:bodyPr>
          <a:lstStyle/>
          <a:p>
            <a:pPr marL="285750" indent="-285750">
              <a:lnSpc>
                <a:spcPct val="200000"/>
              </a:lnSpc>
              <a:buFont typeface="Wingdings" panose="05000000000000000000" pitchFamily="2" charset="2"/>
              <a:buChar char="§"/>
            </a:pPr>
            <a:r>
              <a:rPr lang="en-US" sz="2000"/>
              <a:t>Used </a:t>
            </a:r>
            <a:r>
              <a:rPr lang="en-US" sz="2000" b="1">
                <a:solidFill>
                  <a:schemeClr val="accent2">
                    <a:lumMod val="75000"/>
                  </a:schemeClr>
                </a:solidFill>
              </a:rPr>
              <a:t>Bilinear</a:t>
            </a:r>
            <a:r>
              <a:rPr lang="en-US" sz="2000"/>
              <a:t> resampling (ERA5 weather datasets 28km &gt; 4km). </a:t>
            </a:r>
            <a:endParaRPr lang="en-US" sz="2000">
              <a:cs typeface="Calibri"/>
            </a:endParaRPr>
          </a:p>
          <a:p>
            <a:pPr marL="285750" indent="-285750">
              <a:lnSpc>
                <a:spcPct val="200000"/>
              </a:lnSpc>
              <a:buFont typeface="Wingdings" panose="05000000000000000000" pitchFamily="2" charset="2"/>
              <a:buChar char="§"/>
            </a:pPr>
            <a:r>
              <a:rPr lang="en-US" sz="2000"/>
              <a:t>Studies have found minimal/no difference between Bilinear and </a:t>
            </a:r>
            <a:r>
              <a:rPr lang="en-US" sz="2000" err="1"/>
              <a:t>Krigging</a:t>
            </a:r>
            <a:r>
              <a:rPr lang="en-US" sz="2000"/>
              <a:t> interpolation.</a:t>
            </a:r>
            <a:endParaRPr lang="en-US" sz="2000">
              <a:cs typeface="Calibri"/>
            </a:endParaRPr>
          </a:p>
          <a:p>
            <a:pPr marL="285750" indent="-285750">
              <a:lnSpc>
                <a:spcPct val="200000"/>
              </a:lnSpc>
              <a:buFont typeface="Wingdings" panose="05000000000000000000" pitchFamily="2" charset="2"/>
              <a:buChar char="§"/>
            </a:pPr>
            <a:r>
              <a:rPr lang="en-US" sz="2000"/>
              <a:t>Bilinear is a much faster algorithm for large datasets.</a:t>
            </a:r>
            <a:endParaRPr lang="en-US" sz="2000">
              <a:cs typeface="Calibri"/>
            </a:endParaRPr>
          </a:p>
          <a:p>
            <a:pPr marL="285750" indent="-285750">
              <a:lnSpc>
                <a:spcPct val="200000"/>
              </a:lnSpc>
              <a:buFont typeface="Wingdings" panose="05000000000000000000" pitchFamily="2" charset="2"/>
              <a:buChar char="§"/>
            </a:pPr>
            <a:endParaRPr lang="en-US" sz="2000">
              <a:cs typeface="Calibri"/>
            </a:endParaRPr>
          </a:p>
          <a:p>
            <a:pPr>
              <a:lnSpc>
                <a:spcPct val="200000"/>
              </a:lnSpc>
            </a:pPr>
            <a:r>
              <a:rPr lang="en-US" sz="2000"/>
              <a:t>Sources: Shao et al. 2006, Carletti et al. 2000</a:t>
            </a:r>
            <a:endParaRPr lang="en-US" sz="2000">
              <a:cs typeface="Calibri"/>
            </a:endParaRPr>
          </a:p>
        </p:txBody>
      </p:sp>
      <p:sp>
        <p:nvSpPr>
          <p:cNvPr id="2" name="Slide Number Placeholder 1">
            <a:extLst>
              <a:ext uri="{FF2B5EF4-FFF2-40B4-BE49-F238E27FC236}">
                <a16:creationId xmlns:a16="http://schemas.microsoft.com/office/drawing/2014/main" id="{8B52B355-12CD-54DA-334B-DE563A6E7CFB}"/>
              </a:ext>
            </a:extLst>
          </p:cNvPr>
          <p:cNvSpPr>
            <a:spLocks noGrp="1"/>
          </p:cNvSpPr>
          <p:nvPr>
            <p:ph type="sldNum" sz="quarter" idx="12"/>
          </p:nvPr>
        </p:nvSpPr>
        <p:spPr/>
        <p:txBody>
          <a:bodyPr/>
          <a:lstStyle/>
          <a:p>
            <a:fld id="{EEAD9179-7A6B-4268-BEB2-F3B8EB06115B}" type="slidenum">
              <a:rPr lang="en-US" noProof="0" smtClean="0"/>
              <a:t>29</a:t>
            </a:fld>
            <a:endParaRPr lang="en-US" noProof="0"/>
          </a:p>
        </p:txBody>
      </p:sp>
    </p:spTree>
    <p:extLst>
      <p:ext uri="{BB962C8B-B14F-4D97-AF65-F5344CB8AC3E}">
        <p14:creationId xmlns:p14="http://schemas.microsoft.com/office/powerpoint/2010/main" val="50484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3F62010-37D9-C1F3-FE48-1F9FC4001FF9}"/>
              </a:ext>
            </a:extLst>
          </p:cNvPr>
          <p:cNvSpPr/>
          <p:nvPr/>
        </p:nvSpPr>
        <p:spPr>
          <a:xfrm>
            <a:off x="0" y="8125"/>
            <a:ext cx="3495674" cy="6849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01438" y="2485685"/>
            <a:ext cx="2085531" cy="10166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600" b="1">
                <a:solidFill>
                  <a:schemeClr val="accent1">
                    <a:lumMod val="50000"/>
                  </a:schemeClr>
                </a:solidFill>
                <a:latin typeface="Arial"/>
                <a:cs typeface="Calibri Light"/>
              </a:rPr>
              <a:t>Agenda</a:t>
            </a:r>
          </a:p>
        </p:txBody>
      </p:sp>
      <p:sp>
        <p:nvSpPr>
          <p:cNvPr id="5" name="TextBox 4">
            <a:extLst>
              <a:ext uri="{FF2B5EF4-FFF2-40B4-BE49-F238E27FC236}">
                <a16:creationId xmlns:a16="http://schemas.microsoft.com/office/drawing/2014/main" id="{6B0E3D4A-AE11-4EEE-47A3-F08F39D0D674}"/>
              </a:ext>
            </a:extLst>
          </p:cNvPr>
          <p:cNvSpPr txBox="1"/>
          <p:nvPr/>
        </p:nvSpPr>
        <p:spPr>
          <a:xfrm>
            <a:off x="3694126" y="897186"/>
            <a:ext cx="8288323" cy="4551113"/>
          </a:xfrm>
          <a:prstGeom prst="rect">
            <a:avLst/>
          </a:prstGeom>
        </p:spPr>
        <p:txBody>
          <a:bodyPr vert="horz" lIns="91440" tIns="45720" rIns="91440" bIns="45720" rtlCol="0" anchor="ctr">
            <a:normAutofit fontScale="92500"/>
          </a:bodyPr>
          <a:lstStyle/>
          <a:p>
            <a:pPr marL="514350" indent="-457200">
              <a:lnSpc>
                <a:spcPct val="210000"/>
              </a:lnSpc>
              <a:spcAft>
                <a:spcPts val="600"/>
              </a:spcAft>
              <a:buFont typeface="+mj-lt"/>
              <a:buAutoNum type="arabicPeriod"/>
            </a:pPr>
            <a:r>
              <a:rPr lang="en-US" sz="2400">
                <a:latin typeface="Arial"/>
                <a:cs typeface="Arial"/>
              </a:rPr>
              <a:t>Motivation: Business and Technical </a:t>
            </a:r>
          </a:p>
          <a:p>
            <a:pPr marL="514350" indent="-457200">
              <a:lnSpc>
                <a:spcPct val="210000"/>
              </a:lnSpc>
              <a:spcAft>
                <a:spcPts val="600"/>
              </a:spcAft>
              <a:buFont typeface="+mj-lt"/>
              <a:buAutoNum type="arabicPeriod"/>
            </a:pPr>
            <a:r>
              <a:rPr lang="en-US" sz="2400">
                <a:latin typeface="Arial"/>
                <a:cs typeface="Arial"/>
              </a:rPr>
              <a:t>Framework for Analysis-Ready Datasets (ARD)</a:t>
            </a:r>
          </a:p>
          <a:p>
            <a:pPr marL="514350" indent="-457200">
              <a:lnSpc>
                <a:spcPct val="210000"/>
              </a:lnSpc>
              <a:spcAft>
                <a:spcPts val="600"/>
              </a:spcAft>
              <a:buFont typeface="+mj-lt"/>
              <a:buAutoNum type="arabicPeriod"/>
            </a:pPr>
            <a:r>
              <a:rPr lang="en-US" sz="2400">
                <a:latin typeface="Arial"/>
                <a:cs typeface="Arial"/>
              </a:rPr>
              <a:t>Machine Learning/Deep Learning Model Results and Discussion</a:t>
            </a:r>
          </a:p>
          <a:p>
            <a:pPr marL="514350" indent="-457200">
              <a:lnSpc>
                <a:spcPct val="210000"/>
              </a:lnSpc>
              <a:spcAft>
                <a:spcPts val="600"/>
              </a:spcAft>
              <a:buFont typeface="+mj-lt"/>
              <a:buAutoNum type="arabicPeriod"/>
            </a:pPr>
            <a:r>
              <a:rPr lang="en-US" sz="2400">
                <a:latin typeface="Arial"/>
                <a:cs typeface="Arial"/>
              </a:rPr>
              <a:t>Case Study: ARD in Environmental Clustering App</a:t>
            </a:r>
          </a:p>
          <a:p>
            <a:pPr marL="514350" indent="-457200">
              <a:lnSpc>
                <a:spcPct val="210000"/>
              </a:lnSpc>
              <a:spcAft>
                <a:spcPts val="600"/>
              </a:spcAft>
              <a:buFont typeface="+mj-lt"/>
              <a:buAutoNum type="arabicPeriod"/>
            </a:pPr>
            <a:r>
              <a:rPr lang="en-US" sz="2400">
                <a:latin typeface="Arial"/>
                <a:cs typeface="Arial"/>
              </a:rPr>
              <a:t>Future Steps and Summary</a:t>
            </a:r>
          </a:p>
        </p:txBody>
      </p:sp>
      <p:sp>
        <p:nvSpPr>
          <p:cNvPr id="2" name="Slide Number Placeholder 1">
            <a:extLst>
              <a:ext uri="{FF2B5EF4-FFF2-40B4-BE49-F238E27FC236}">
                <a16:creationId xmlns:a16="http://schemas.microsoft.com/office/drawing/2014/main" id="{50D7F7E2-05E6-E2B8-455A-1E18E17C21ED}"/>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3</a:t>
            </a:fld>
            <a:endParaRPr lang="en-US" noProof="0">
              <a:latin typeface="Arial"/>
              <a:cs typeface="Arial"/>
            </a:endParaRPr>
          </a:p>
        </p:txBody>
      </p:sp>
      <p:pic>
        <p:nvPicPr>
          <p:cNvPr id="4" name="Picture 3" descr="A picture containing circle, graphics, font, symbol&#10;&#10;Description automatically generated">
            <a:extLst>
              <a:ext uri="{FF2B5EF4-FFF2-40B4-BE49-F238E27FC236}">
                <a16:creationId xmlns:a16="http://schemas.microsoft.com/office/drawing/2014/main" id="{A6D044A4-BBE0-F9D4-D169-45AA3B5891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044" y="360516"/>
            <a:ext cx="409975" cy="409975"/>
          </a:xfrm>
          <a:prstGeom prst="rect">
            <a:avLst/>
          </a:prstGeom>
        </p:spPr>
      </p:pic>
    </p:spTree>
    <p:extLst>
      <p:ext uri="{BB962C8B-B14F-4D97-AF65-F5344CB8AC3E}">
        <p14:creationId xmlns:p14="http://schemas.microsoft.com/office/powerpoint/2010/main" val="5926999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10479548" cy="73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Average Relative Humidity</a:t>
            </a:r>
          </a:p>
        </p:txBody>
      </p:sp>
      <p:cxnSp>
        <p:nvCxnSpPr>
          <p:cNvPr id="24" name="Straight Connector 23">
            <a:extLst>
              <a:ext uri="{FF2B5EF4-FFF2-40B4-BE49-F238E27FC236}">
                <a16:creationId xmlns:a16="http://schemas.microsoft.com/office/drawing/2014/main" id="{99D01E62-F77D-E62A-0C2D-824A66B5AD7B}"/>
              </a:ext>
            </a:extLst>
          </p:cNvPr>
          <p:cNvCxnSpPr>
            <a:cxnSpLocks/>
          </p:cNvCxnSpPr>
          <p:nvPr/>
        </p:nvCxnSpPr>
        <p:spPr>
          <a:xfrm>
            <a:off x="6096000" y="1686757"/>
            <a:ext cx="0" cy="4983876"/>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1B7C3091-DEA4-66D1-884C-6CB2FD58DB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09674" y="4398645"/>
            <a:ext cx="2905945" cy="2271988"/>
          </a:xfrm>
          <a:prstGeom prst="rect">
            <a:avLst/>
          </a:prstGeom>
        </p:spPr>
      </p:pic>
      <p:pic>
        <p:nvPicPr>
          <p:cNvPr id="7" name="Picture 6">
            <a:extLst>
              <a:ext uri="{FF2B5EF4-FFF2-40B4-BE49-F238E27FC236}">
                <a16:creationId xmlns:a16="http://schemas.microsoft.com/office/drawing/2014/main" id="{B5713B37-2314-473A-D0AE-587C49D1A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889706" y="1833199"/>
            <a:ext cx="2940838" cy="2285260"/>
          </a:xfrm>
          <a:prstGeom prst="rect">
            <a:avLst/>
          </a:prstGeom>
        </p:spPr>
      </p:pic>
      <p:sp>
        <p:nvSpPr>
          <p:cNvPr id="11" name="TextBox 10">
            <a:extLst>
              <a:ext uri="{FF2B5EF4-FFF2-40B4-BE49-F238E27FC236}">
                <a16:creationId xmlns:a16="http://schemas.microsoft.com/office/drawing/2014/main" id="{34104EF3-AE2A-10CD-807A-5E8D98642890}"/>
              </a:ext>
            </a:extLst>
          </p:cNvPr>
          <p:cNvSpPr txBox="1"/>
          <p:nvPr/>
        </p:nvSpPr>
        <p:spPr>
          <a:xfrm rot="16200000">
            <a:off x="33028"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2" name="TextBox 11">
            <a:extLst>
              <a:ext uri="{FF2B5EF4-FFF2-40B4-BE49-F238E27FC236}">
                <a16:creationId xmlns:a16="http://schemas.microsoft.com/office/drawing/2014/main" id="{563AE502-BE2B-F7DC-8070-3C524C7FC52F}"/>
              </a:ext>
            </a:extLst>
          </p:cNvPr>
          <p:cNvSpPr txBox="1"/>
          <p:nvPr/>
        </p:nvSpPr>
        <p:spPr>
          <a:xfrm rot="16200000">
            <a:off x="33029" y="5242251"/>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15" name="TextBox 14">
            <a:extLst>
              <a:ext uri="{FF2B5EF4-FFF2-40B4-BE49-F238E27FC236}">
                <a16:creationId xmlns:a16="http://schemas.microsoft.com/office/drawing/2014/main" id="{A831B13C-8409-F4FA-2FD1-7B0D4DD54039}"/>
              </a:ext>
            </a:extLst>
          </p:cNvPr>
          <p:cNvSpPr txBox="1"/>
          <p:nvPr/>
        </p:nvSpPr>
        <p:spPr>
          <a:xfrm rot="16200000">
            <a:off x="5570606"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6" name="TextBox 15">
            <a:extLst>
              <a:ext uri="{FF2B5EF4-FFF2-40B4-BE49-F238E27FC236}">
                <a16:creationId xmlns:a16="http://schemas.microsoft.com/office/drawing/2014/main" id="{74FA2828-4265-79AB-6956-60772E0CBF25}"/>
              </a:ext>
            </a:extLst>
          </p:cNvPr>
          <p:cNvSpPr txBox="1"/>
          <p:nvPr/>
        </p:nvSpPr>
        <p:spPr>
          <a:xfrm rot="16200000">
            <a:off x="5570607" y="5253012"/>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2" name="Slide Number Placeholder 1">
            <a:extLst>
              <a:ext uri="{FF2B5EF4-FFF2-40B4-BE49-F238E27FC236}">
                <a16:creationId xmlns:a16="http://schemas.microsoft.com/office/drawing/2014/main" id="{D6F33AD6-BCD0-7BD2-5890-1C682DC785B4}"/>
              </a:ext>
            </a:extLst>
          </p:cNvPr>
          <p:cNvSpPr>
            <a:spLocks noGrp="1"/>
          </p:cNvSpPr>
          <p:nvPr>
            <p:ph type="sldNum" sz="quarter" idx="12"/>
          </p:nvPr>
        </p:nvSpPr>
        <p:spPr/>
        <p:txBody>
          <a:bodyPr/>
          <a:lstStyle/>
          <a:p>
            <a:fld id="{EEAD9179-7A6B-4268-BEB2-F3B8EB06115B}" type="slidenum">
              <a:rPr lang="en-US" noProof="0" smtClean="0"/>
              <a:t>30</a:t>
            </a:fld>
            <a:endParaRPr lang="en-US" noProof="0"/>
          </a:p>
        </p:txBody>
      </p:sp>
      <p:sp>
        <p:nvSpPr>
          <p:cNvPr id="5" name="TextBox 4">
            <a:extLst>
              <a:ext uri="{FF2B5EF4-FFF2-40B4-BE49-F238E27FC236}">
                <a16:creationId xmlns:a16="http://schemas.microsoft.com/office/drawing/2014/main" id="{BC1754F1-682A-BE94-E0A0-10CA6FA4AE0D}"/>
              </a:ext>
            </a:extLst>
          </p:cNvPr>
          <p:cNvSpPr txBox="1"/>
          <p:nvPr/>
        </p:nvSpPr>
        <p:spPr>
          <a:xfrm>
            <a:off x="768194" y="966722"/>
            <a:ext cx="10191565" cy="584775"/>
          </a:xfrm>
          <a:prstGeom prst="rect">
            <a:avLst/>
          </a:prstGeom>
          <a:noFill/>
        </p:spPr>
        <p:txBody>
          <a:bodyPr wrap="square" rtlCol="0">
            <a:spAutoFit/>
          </a:bodyPr>
          <a:lstStyle/>
          <a:p>
            <a:r>
              <a:rPr lang="en-US" sz="1600"/>
              <a:t>ML model performance for randomly selected dates from the test dataset shows improved correlation between interpolated and observed </a:t>
            </a:r>
            <a:r>
              <a:rPr lang="en-US" sz="1600" u="sng"/>
              <a:t>Average Relative Humidity</a:t>
            </a:r>
            <a:r>
              <a:rPr lang="en-US" sz="1600"/>
              <a:t> data.</a:t>
            </a:r>
            <a:endParaRPr lang="en-US" sz="1600" baseline="30000"/>
          </a:p>
        </p:txBody>
      </p:sp>
      <p:pic>
        <p:nvPicPr>
          <p:cNvPr id="6" name="Picture 5">
            <a:extLst>
              <a:ext uri="{FF2B5EF4-FFF2-40B4-BE49-F238E27FC236}">
                <a16:creationId xmlns:a16="http://schemas.microsoft.com/office/drawing/2014/main" id="{5E2191B3-98E6-B694-F261-D599E1961C3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747155" y="1833199"/>
            <a:ext cx="3205289" cy="2468939"/>
          </a:xfrm>
          <a:prstGeom prst="rect">
            <a:avLst/>
          </a:prstGeom>
        </p:spPr>
      </p:pic>
      <p:pic>
        <p:nvPicPr>
          <p:cNvPr id="8" name="Picture 7">
            <a:extLst>
              <a:ext uri="{FF2B5EF4-FFF2-40B4-BE49-F238E27FC236}">
                <a16:creationId xmlns:a16="http://schemas.microsoft.com/office/drawing/2014/main" id="{B9E0931F-AF13-AB52-802B-BAF25FB5B5C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861074" y="4410128"/>
            <a:ext cx="2940838" cy="2278321"/>
          </a:xfrm>
          <a:prstGeom prst="rect">
            <a:avLst/>
          </a:prstGeom>
        </p:spPr>
      </p:pic>
      <p:sp>
        <p:nvSpPr>
          <p:cNvPr id="3" name="TextBox 2">
            <a:extLst>
              <a:ext uri="{FF2B5EF4-FFF2-40B4-BE49-F238E27FC236}">
                <a16:creationId xmlns:a16="http://schemas.microsoft.com/office/drawing/2014/main" id="{51005D58-E908-FD88-9D81-C64DF2EA80B8}"/>
              </a:ext>
            </a:extLst>
          </p:cNvPr>
          <p:cNvSpPr txBox="1"/>
          <p:nvPr/>
        </p:nvSpPr>
        <p:spPr>
          <a:xfrm>
            <a:off x="2241043" y="1990997"/>
            <a:ext cx="415265" cy="261610"/>
          </a:xfrm>
          <a:prstGeom prst="rect">
            <a:avLst/>
          </a:prstGeom>
          <a:solidFill>
            <a:schemeClr val="bg1"/>
          </a:solidFill>
        </p:spPr>
        <p:txBody>
          <a:bodyPr wrap="square" rtlCol="0">
            <a:spAutoFit/>
          </a:bodyPr>
          <a:lstStyle/>
          <a:p>
            <a:pPr algn="r"/>
            <a:r>
              <a:rPr lang="en-US" sz="1050"/>
              <a:t>R</a:t>
            </a:r>
            <a:r>
              <a:rPr lang="en-US" sz="1050" baseline="30000"/>
              <a:t>2</a:t>
            </a:r>
            <a:r>
              <a:rPr lang="en-US" sz="1050"/>
              <a:t>:</a:t>
            </a:r>
          </a:p>
        </p:txBody>
      </p:sp>
      <p:sp>
        <p:nvSpPr>
          <p:cNvPr id="10" name="TextBox 9">
            <a:extLst>
              <a:ext uri="{FF2B5EF4-FFF2-40B4-BE49-F238E27FC236}">
                <a16:creationId xmlns:a16="http://schemas.microsoft.com/office/drawing/2014/main" id="{9D932580-339A-37B0-F320-67B70D40500D}"/>
              </a:ext>
            </a:extLst>
          </p:cNvPr>
          <p:cNvSpPr txBox="1"/>
          <p:nvPr/>
        </p:nvSpPr>
        <p:spPr>
          <a:xfrm>
            <a:off x="2225802" y="4554184"/>
            <a:ext cx="415265" cy="261610"/>
          </a:xfrm>
          <a:prstGeom prst="rect">
            <a:avLst/>
          </a:prstGeom>
          <a:solidFill>
            <a:schemeClr val="bg1"/>
          </a:solidFill>
        </p:spPr>
        <p:txBody>
          <a:bodyPr wrap="square" rtlCol="0">
            <a:spAutoFit/>
          </a:bodyPr>
          <a:lstStyle/>
          <a:p>
            <a:pPr algn="r"/>
            <a:r>
              <a:rPr lang="en-US" sz="1050"/>
              <a:t>R</a:t>
            </a:r>
            <a:r>
              <a:rPr lang="en-US" sz="1050" baseline="30000"/>
              <a:t>2</a:t>
            </a:r>
            <a:r>
              <a:rPr lang="en-US" sz="1050"/>
              <a:t>:</a:t>
            </a:r>
          </a:p>
        </p:txBody>
      </p:sp>
      <p:sp>
        <p:nvSpPr>
          <p:cNvPr id="14" name="TextBox 13">
            <a:extLst>
              <a:ext uri="{FF2B5EF4-FFF2-40B4-BE49-F238E27FC236}">
                <a16:creationId xmlns:a16="http://schemas.microsoft.com/office/drawing/2014/main" id="{2416DFFF-9DB2-6452-E337-2741E2EE5981}"/>
              </a:ext>
            </a:extLst>
          </p:cNvPr>
          <p:cNvSpPr txBox="1"/>
          <p:nvPr/>
        </p:nvSpPr>
        <p:spPr>
          <a:xfrm>
            <a:off x="8154163" y="2029097"/>
            <a:ext cx="415265" cy="261610"/>
          </a:xfrm>
          <a:prstGeom prst="rect">
            <a:avLst/>
          </a:prstGeom>
          <a:solidFill>
            <a:schemeClr val="bg1"/>
          </a:solidFill>
        </p:spPr>
        <p:txBody>
          <a:bodyPr wrap="square" rtlCol="0">
            <a:spAutoFit/>
          </a:bodyPr>
          <a:lstStyle/>
          <a:p>
            <a:pPr algn="r"/>
            <a:r>
              <a:rPr lang="en-US" sz="1050"/>
              <a:t>R</a:t>
            </a:r>
            <a:r>
              <a:rPr lang="en-US" sz="1050" baseline="30000"/>
              <a:t>2</a:t>
            </a:r>
            <a:r>
              <a:rPr lang="en-US" sz="1050"/>
              <a:t>:</a:t>
            </a:r>
          </a:p>
        </p:txBody>
      </p:sp>
      <p:sp>
        <p:nvSpPr>
          <p:cNvPr id="17" name="TextBox 16">
            <a:extLst>
              <a:ext uri="{FF2B5EF4-FFF2-40B4-BE49-F238E27FC236}">
                <a16:creationId xmlns:a16="http://schemas.microsoft.com/office/drawing/2014/main" id="{4227057D-0654-D6FE-B8C4-8FCDAB06CA6C}"/>
              </a:ext>
            </a:extLst>
          </p:cNvPr>
          <p:cNvSpPr txBox="1"/>
          <p:nvPr/>
        </p:nvSpPr>
        <p:spPr>
          <a:xfrm>
            <a:off x="8244840" y="4568600"/>
            <a:ext cx="347448" cy="261610"/>
          </a:xfrm>
          <a:prstGeom prst="rect">
            <a:avLst/>
          </a:prstGeom>
          <a:solidFill>
            <a:schemeClr val="bg1"/>
          </a:solidFill>
        </p:spPr>
        <p:txBody>
          <a:bodyPr wrap="square" rtlCol="0">
            <a:spAutoFit/>
          </a:bodyPr>
          <a:lstStyle/>
          <a:p>
            <a:pPr algn="r"/>
            <a:r>
              <a:rPr lang="en-US" sz="1050"/>
              <a:t>R</a:t>
            </a:r>
            <a:r>
              <a:rPr lang="en-US" sz="1050" baseline="30000"/>
              <a:t>2</a:t>
            </a:r>
            <a:r>
              <a:rPr lang="en-US" sz="1050"/>
              <a:t>:</a:t>
            </a:r>
          </a:p>
        </p:txBody>
      </p:sp>
    </p:spTree>
    <p:extLst>
      <p:ext uri="{BB962C8B-B14F-4D97-AF65-F5344CB8AC3E}">
        <p14:creationId xmlns:p14="http://schemas.microsoft.com/office/powerpoint/2010/main" val="1203333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10725354" cy="73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Average Relative Humidity</a:t>
            </a:r>
          </a:p>
        </p:txBody>
      </p:sp>
      <p:pic>
        <p:nvPicPr>
          <p:cNvPr id="5" name="Picture 4">
            <a:extLst>
              <a:ext uri="{FF2B5EF4-FFF2-40B4-BE49-F238E27FC236}">
                <a16:creationId xmlns:a16="http://schemas.microsoft.com/office/drawing/2014/main" id="{FFB1E75E-CD71-507C-BB0A-BE0ACF1CB6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34254" y="1900000"/>
            <a:ext cx="5807578" cy="4298926"/>
          </a:xfrm>
          <a:prstGeom prst="rect">
            <a:avLst/>
          </a:prstGeom>
        </p:spPr>
      </p:pic>
      <p:sp>
        <p:nvSpPr>
          <p:cNvPr id="8" name="Slide Number Placeholder 7">
            <a:extLst>
              <a:ext uri="{FF2B5EF4-FFF2-40B4-BE49-F238E27FC236}">
                <a16:creationId xmlns:a16="http://schemas.microsoft.com/office/drawing/2014/main" id="{F7121A09-0EC1-9B80-94A4-5E900DAED457}"/>
              </a:ext>
            </a:extLst>
          </p:cNvPr>
          <p:cNvSpPr>
            <a:spLocks noGrp="1"/>
          </p:cNvSpPr>
          <p:nvPr>
            <p:ph type="sldNum" sz="quarter" idx="12"/>
          </p:nvPr>
        </p:nvSpPr>
        <p:spPr/>
        <p:txBody>
          <a:bodyPr/>
          <a:lstStyle/>
          <a:p>
            <a:fld id="{EEAD9179-7A6B-4268-BEB2-F3B8EB06115B}" type="slidenum">
              <a:rPr lang="en-US" smtClean="0"/>
              <a:pPr/>
              <a:t>31</a:t>
            </a:fld>
            <a:endParaRPr lang="en-US"/>
          </a:p>
        </p:txBody>
      </p:sp>
      <p:sp>
        <p:nvSpPr>
          <p:cNvPr id="2" name="TextBox 1">
            <a:extLst>
              <a:ext uri="{FF2B5EF4-FFF2-40B4-BE49-F238E27FC236}">
                <a16:creationId xmlns:a16="http://schemas.microsoft.com/office/drawing/2014/main" id="{4F12E48C-FEAB-6C41-9C4F-9F5339F51EE2}"/>
              </a:ext>
            </a:extLst>
          </p:cNvPr>
          <p:cNvSpPr txBox="1"/>
          <p:nvPr/>
        </p:nvSpPr>
        <p:spPr>
          <a:xfrm>
            <a:off x="768194" y="1058022"/>
            <a:ext cx="10562672" cy="369332"/>
          </a:xfrm>
          <a:prstGeom prst="rect">
            <a:avLst/>
          </a:prstGeom>
          <a:noFill/>
        </p:spPr>
        <p:txBody>
          <a:bodyPr wrap="square" rtlCol="0">
            <a:spAutoFit/>
          </a:bodyPr>
          <a:lstStyle/>
          <a:p>
            <a:r>
              <a:rPr lang="en-US"/>
              <a:t>Overall, ML model performance is satisfactory for daily </a:t>
            </a:r>
            <a:r>
              <a:rPr lang="en-US" u="sng"/>
              <a:t>Average Relative Humidity</a:t>
            </a:r>
            <a:r>
              <a:rPr lang="en-US"/>
              <a:t> datasets in the </a:t>
            </a:r>
            <a:r>
              <a:rPr lang="en-US" u="sng"/>
              <a:t>test set</a:t>
            </a:r>
            <a:r>
              <a:rPr lang="en-US"/>
              <a:t>.</a:t>
            </a:r>
          </a:p>
        </p:txBody>
      </p:sp>
      <p:sp>
        <p:nvSpPr>
          <p:cNvPr id="3" name="TextBox 2">
            <a:extLst>
              <a:ext uri="{FF2B5EF4-FFF2-40B4-BE49-F238E27FC236}">
                <a16:creationId xmlns:a16="http://schemas.microsoft.com/office/drawing/2014/main" id="{6EF2534A-6427-DD43-A57B-D7EDEEA6901D}"/>
              </a:ext>
            </a:extLst>
          </p:cNvPr>
          <p:cNvSpPr txBox="1"/>
          <p:nvPr/>
        </p:nvSpPr>
        <p:spPr>
          <a:xfrm>
            <a:off x="3219590" y="6161584"/>
            <a:ext cx="6036906" cy="646331"/>
          </a:xfrm>
          <a:prstGeom prst="rect">
            <a:avLst/>
          </a:prstGeom>
          <a:noFill/>
        </p:spPr>
        <p:txBody>
          <a:bodyPr wrap="square" rtlCol="0">
            <a:spAutoFit/>
          </a:bodyPr>
          <a:lstStyle/>
          <a:p>
            <a:pPr algn="ctr"/>
            <a:r>
              <a:rPr lang="en-US" b="1">
                <a:solidFill>
                  <a:schemeClr val="accent6">
                    <a:lumMod val="75000"/>
                  </a:schemeClr>
                </a:solidFill>
              </a:rPr>
              <a:t>R</a:t>
            </a:r>
            <a:r>
              <a:rPr lang="en-US" b="1" baseline="30000">
                <a:solidFill>
                  <a:schemeClr val="accent6">
                    <a:lumMod val="75000"/>
                  </a:schemeClr>
                </a:solidFill>
              </a:rPr>
              <a:t>2</a:t>
            </a:r>
            <a:r>
              <a:rPr lang="en-US" b="1">
                <a:solidFill>
                  <a:schemeClr val="accent6">
                    <a:lumMod val="75000"/>
                  </a:schemeClr>
                </a:solidFill>
              </a:rPr>
              <a:t> comparison Before and After Applying ML Model </a:t>
            </a:r>
            <a:r>
              <a:rPr lang="en-US" b="1" u="sng">
                <a:solidFill>
                  <a:schemeClr val="accent6">
                    <a:lumMod val="75000"/>
                  </a:schemeClr>
                </a:solidFill>
              </a:rPr>
              <a:t>for all the days in Test Dataset </a:t>
            </a:r>
            <a:endParaRPr lang="en-US" b="1">
              <a:solidFill>
                <a:schemeClr val="accent6">
                  <a:lumMod val="75000"/>
                </a:schemeClr>
              </a:solidFill>
            </a:endParaRPr>
          </a:p>
        </p:txBody>
      </p:sp>
      <p:sp>
        <p:nvSpPr>
          <p:cNvPr id="4" name="TextBox 3">
            <a:extLst>
              <a:ext uri="{FF2B5EF4-FFF2-40B4-BE49-F238E27FC236}">
                <a16:creationId xmlns:a16="http://schemas.microsoft.com/office/drawing/2014/main" id="{567C13A3-8F58-C44F-5F8E-F6795BD086F9}"/>
              </a:ext>
            </a:extLst>
          </p:cNvPr>
          <p:cNvSpPr txBox="1"/>
          <p:nvPr/>
        </p:nvSpPr>
        <p:spPr>
          <a:xfrm rot="16200000">
            <a:off x="3126622" y="3728060"/>
            <a:ext cx="415265" cy="338554"/>
          </a:xfrm>
          <a:prstGeom prst="rect">
            <a:avLst/>
          </a:prstGeom>
          <a:solidFill>
            <a:schemeClr val="bg1"/>
          </a:solidFill>
        </p:spPr>
        <p:txBody>
          <a:bodyPr wrap="square" rtlCol="0">
            <a:spAutoFit/>
          </a:bodyPr>
          <a:lstStyle/>
          <a:p>
            <a:pPr algn="r"/>
            <a:r>
              <a:rPr lang="en-US" sz="1600"/>
              <a:t>R</a:t>
            </a:r>
            <a:r>
              <a:rPr lang="en-US" sz="1600" baseline="30000"/>
              <a:t>2</a:t>
            </a:r>
            <a:endParaRPr lang="en-US" sz="1600"/>
          </a:p>
        </p:txBody>
      </p:sp>
    </p:spTree>
    <p:extLst>
      <p:ext uri="{BB962C8B-B14F-4D97-AF65-F5344CB8AC3E}">
        <p14:creationId xmlns:p14="http://schemas.microsoft.com/office/powerpoint/2010/main" val="22948865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9" y="390910"/>
            <a:ext cx="9144000" cy="73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ML Model Results : Average Wind Speed </a:t>
            </a:r>
          </a:p>
        </p:txBody>
      </p:sp>
      <p:pic>
        <p:nvPicPr>
          <p:cNvPr id="3" name="Picture 2">
            <a:extLst>
              <a:ext uri="{FF2B5EF4-FFF2-40B4-BE49-F238E27FC236}">
                <a16:creationId xmlns:a16="http://schemas.microsoft.com/office/drawing/2014/main" id="{72FDB37B-E1DB-C812-CAB0-7BE1829D14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67814" y="2317291"/>
            <a:ext cx="3683149" cy="2805762"/>
          </a:xfrm>
          <a:prstGeom prst="rect">
            <a:avLst/>
          </a:prstGeom>
        </p:spPr>
      </p:pic>
      <p:pic>
        <p:nvPicPr>
          <p:cNvPr id="6" name="Picture 5">
            <a:extLst>
              <a:ext uri="{FF2B5EF4-FFF2-40B4-BE49-F238E27FC236}">
                <a16:creationId xmlns:a16="http://schemas.microsoft.com/office/drawing/2014/main" id="{B09638A6-6111-A6EC-914F-C98B17862DE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246748" y="2352548"/>
            <a:ext cx="3698504" cy="2785582"/>
          </a:xfrm>
          <a:prstGeom prst="rect">
            <a:avLst/>
          </a:prstGeom>
        </p:spPr>
      </p:pic>
      <p:pic>
        <p:nvPicPr>
          <p:cNvPr id="8" name="Picture 7">
            <a:extLst>
              <a:ext uri="{FF2B5EF4-FFF2-40B4-BE49-F238E27FC236}">
                <a16:creationId xmlns:a16="http://schemas.microsoft.com/office/drawing/2014/main" id="{1F7DC9F6-9984-9A8A-6C84-FC2CCC04B58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7205" y="2319721"/>
            <a:ext cx="3675271" cy="2803332"/>
          </a:xfrm>
          <a:prstGeom prst="rect">
            <a:avLst/>
          </a:prstGeom>
        </p:spPr>
      </p:pic>
      <p:sp>
        <p:nvSpPr>
          <p:cNvPr id="2" name="Slide Number Placeholder 1">
            <a:extLst>
              <a:ext uri="{FF2B5EF4-FFF2-40B4-BE49-F238E27FC236}">
                <a16:creationId xmlns:a16="http://schemas.microsoft.com/office/drawing/2014/main" id="{56C1F752-97FE-CC5B-DA77-DDC0B76B32E3}"/>
              </a:ext>
            </a:extLst>
          </p:cNvPr>
          <p:cNvSpPr>
            <a:spLocks noGrp="1"/>
          </p:cNvSpPr>
          <p:nvPr>
            <p:ph type="sldNum" sz="quarter" idx="12"/>
          </p:nvPr>
        </p:nvSpPr>
        <p:spPr/>
        <p:txBody>
          <a:bodyPr/>
          <a:lstStyle/>
          <a:p>
            <a:fld id="{EEAD9179-7A6B-4268-BEB2-F3B8EB06115B}" type="slidenum">
              <a:rPr lang="en-US" noProof="0" smtClean="0"/>
              <a:t>32</a:t>
            </a:fld>
            <a:endParaRPr lang="en-US" noProof="0"/>
          </a:p>
        </p:txBody>
      </p:sp>
      <p:sp>
        <p:nvSpPr>
          <p:cNvPr id="7" name="TextBox 6">
            <a:extLst>
              <a:ext uri="{FF2B5EF4-FFF2-40B4-BE49-F238E27FC236}">
                <a16:creationId xmlns:a16="http://schemas.microsoft.com/office/drawing/2014/main" id="{39AA71CF-08AD-0070-5A05-46979ADD10E0}"/>
              </a:ext>
            </a:extLst>
          </p:cNvPr>
          <p:cNvSpPr txBox="1"/>
          <p:nvPr/>
        </p:nvSpPr>
        <p:spPr>
          <a:xfrm>
            <a:off x="865388" y="1225257"/>
            <a:ext cx="10191565" cy="646331"/>
          </a:xfrm>
          <a:prstGeom prst="rect">
            <a:avLst/>
          </a:prstGeom>
          <a:noFill/>
        </p:spPr>
        <p:txBody>
          <a:bodyPr wrap="square" rtlCol="0">
            <a:spAutoFit/>
          </a:bodyPr>
          <a:lstStyle/>
          <a:p>
            <a:r>
              <a:rPr lang="en-US"/>
              <a:t>ML model (GOSS) interpolated </a:t>
            </a:r>
            <a:r>
              <a:rPr lang="en-US" b="1" u="sng"/>
              <a:t>Average Wind Speed</a:t>
            </a:r>
            <a:r>
              <a:rPr lang="en-US"/>
              <a:t> has improved R</a:t>
            </a:r>
            <a:r>
              <a:rPr lang="en-US" baseline="30000"/>
              <a:t>2 </a:t>
            </a:r>
            <a:r>
              <a:rPr lang="en-US"/>
              <a:t>correlation with observed data in both train and test set.</a:t>
            </a:r>
            <a:r>
              <a:rPr lang="en-US" baseline="30000"/>
              <a:t> </a:t>
            </a:r>
          </a:p>
        </p:txBody>
      </p:sp>
      <p:sp>
        <p:nvSpPr>
          <p:cNvPr id="4" name="TextBox 3">
            <a:extLst>
              <a:ext uri="{FF2B5EF4-FFF2-40B4-BE49-F238E27FC236}">
                <a16:creationId xmlns:a16="http://schemas.microsoft.com/office/drawing/2014/main" id="{5598E743-B229-632B-3E96-FA0F8780461F}"/>
              </a:ext>
            </a:extLst>
          </p:cNvPr>
          <p:cNvSpPr txBox="1"/>
          <p:nvPr/>
        </p:nvSpPr>
        <p:spPr>
          <a:xfrm>
            <a:off x="703463" y="5288660"/>
            <a:ext cx="2743200" cy="584775"/>
          </a:xfrm>
          <a:prstGeom prst="rect">
            <a:avLst/>
          </a:prstGeom>
          <a:noFill/>
        </p:spPr>
        <p:txBody>
          <a:bodyPr wrap="square" rtlCol="0">
            <a:spAutoFit/>
          </a:bodyPr>
          <a:lstStyle/>
          <a:p>
            <a:pPr algn="ctr"/>
            <a:r>
              <a:rPr lang="en-US" sz="1600" i="1"/>
              <a:t>resampled ERA5 data (4km) vs </a:t>
            </a:r>
          </a:p>
          <a:p>
            <a:pPr algn="ctr"/>
            <a:r>
              <a:rPr lang="en-US" sz="1600" i="1"/>
              <a:t>TWC Data (4km)</a:t>
            </a:r>
            <a:endParaRPr lang="en-US" sz="1600"/>
          </a:p>
        </p:txBody>
      </p:sp>
      <p:sp>
        <p:nvSpPr>
          <p:cNvPr id="5" name="TextBox 4">
            <a:extLst>
              <a:ext uri="{FF2B5EF4-FFF2-40B4-BE49-F238E27FC236}">
                <a16:creationId xmlns:a16="http://schemas.microsoft.com/office/drawing/2014/main" id="{46766ECA-D28D-A5BA-3991-FED81CDD14C7}"/>
              </a:ext>
            </a:extLst>
          </p:cNvPr>
          <p:cNvSpPr txBox="1"/>
          <p:nvPr/>
        </p:nvSpPr>
        <p:spPr>
          <a:xfrm>
            <a:off x="4713071" y="5176070"/>
            <a:ext cx="32099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rgbClr val="7030A0"/>
                </a:solidFill>
              </a:rPr>
              <a:t>train</a:t>
            </a:r>
            <a:r>
              <a:rPr lang="en-US" sz="1600"/>
              <a:t> set)</a:t>
            </a:r>
          </a:p>
        </p:txBody>
      </p:sp>
      <p:sp>
        <p:nvSpPr>
          <p:cNvPr id="10" name="TextBox 9">
            <a:extLst>
              <a:ext uri="{FF2B5EF4-FFF2-40B4-BE49-F238E27FC236}">
                <a16:creationId xmlns:a16="http://schemas.microsoft.com/office/drawing/2014/main" id="{72CA6DE6-AD04-A276-24A1-06F9C3411A4B}"/>
              </a:ext>
            </a:extLst>
          </p:cNvPr>
          <p:cNvSpPr txBox="1"/>
          <p:nvPr/>
        </p:nvSpPr>
        <p:spPr>
          <a:xfrm>
            <a:off x="8663531" y="5176070"/>
            <a:ext cx="33242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chemeClr val="accent2">
                    <a:lumMod val="75000"/>
                  </a:schemeClr>
                </a:solidFill>
              </a:rPr>
              <a:t>test</a:t>
            </a:r>
            <a:r>
              <a:rPr lang="en-US" sz="1600"/>
              <a:t> set)</a:t>
            </a:r>
          </a:p>
        </p:txBody>
      </p:sp>
    </p:spTree>
    <p:extLst>
      <p:ext uri="{BB962C8B-B14F-4D97-AF65-F5344CB8AC3E}">
        <p14:creationId xmlns:p14="http://schemas.microsoft.com/office/powerpoint/2010/main" val="10485055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Average Wind Speed</a:t>
            </a:r>
          </a:p>
        </p:txBody>
      </p:sp>
      <p:cxnSp>
        <p:nvCxnSpPr>
          <p:cNvPr id="24" name="Straight Connector 23">
            <a:extLst>
              <a:ext uri="{FF2B5EF4-FFF2-40B4-BE49-F238E27FC236}">
                <a16:creationId xmlns:a16="http://schemas.microsoft.com/office/drawing/2014/main" id="{99D01E62-F77D-E62A-0C2D-824A66B5AD7B}"/>
              </a:ext>
            </a:extLst>
          </p:cNvPr>
          <p:cNvCxnSpPr>
            <a:cxnSpLocks/>
          </p:cNvCxnSpPr>
          <p:nvPr/>
        </p:nvCxnSpPr>
        <p:spPr>
          <a:xfrm>
            <a:off x="6096000" y="1686757"/>
            <a:ext cx="0" cy="4983876"/>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1B7C3091-DEA4-66D1-884C-6CB2FD58DB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81533" y="4398645"/>
            <a:ext cx="2857476" cy="2271988"/>
          </a:xfrm>
          <a:prstGeom prst="rect">
            <a:avLst/>
          </a:prstGeom>
        </p:spPr>
      </p:pic>
      <p:pic>
        <p:nvPicPr>
          <p:cNvPr id="7" name="Picture 6">
            <a:extLst>
              <a:ext uri="{FF2B5EF4-FFF2-40B4-BE49-F238E27FC236}">
                <a16:creationId xmlns:a16="http://schemas.microsoft.com/office/drawing/2014/main" id="{B5713B37-2314-473A-D0AE-587C49D1A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908319" y="1837523"/>
            <a:ext cx="2903612" cy="2276611"/>
          </a:xfrm>
          <a:prstGeom prst="rect">
            <a:avLst/>
          </a:prstGeom>
        </p:spPr>
      </p:pic>
      <p:sp>
        <p:nvSpPr>
          <p:cNvPr id="2" name="Slide Number Placeholder 1">
            <a:extLst>
              <a:ext uri="{FF2B5EF4-FFF2-40B4-BE49-F238E27FC236}">
                <a16:creationId xmlns:a16="http://schemas.microsoft.com/office/drawing/2014/main" id="{D6F33AD6-BCD0-7BD2-5890-1C682DC785B4}"/>
              </a:ext>
            </a:extLst>
          </p:cNvPr>
          <p:cNvSpPr>
            <a:spLocks noGrp="1"/>
          </p:cNvSpPr>
          <p:nvPr>
            <p:ph type="sldNum" sz="quarter" idx="12"/>
          </p:nvPr>
        </p:nvSpPr>
        <p:spPr/>
        <p:txBody>
          <a:bodyPr/>
          <a:lstStyle/>
          <a:p>
            <a:fld id="{EEAD9179-7A6B-4268-BEB2-F3B8EB06115B}" type="slidenum">
              <a:rPr lang="en-US" noProof="0" smtClean="0"/>
              <a:t>33</a:t>
            </a:fld>
            <a:endParaRPr lang="en-US" noProof="0"/>
          </a:p>
        </p:txBody>
      </p:sp>
      <p:sp>
        <p:nvSpPr>
          <p:cNvPr id="5" name="TextBox 4">
            <a:extLst>
              <a:ext uri="{FF2B5EF4-FFF2-40B4-BE49-F238E27FC236}">
                <a16:creationId xmlns:a16="http://schemas.microsoft.com/office/drawing/2014/main" id="{BC1754F1-682A-BE94-E0A0-10CA6FA4AE0D}"/>
              </a:ext>
            </a:extLst>
          </p:cNvPr>
          <p:cNvSpPr txBox="1"/>
          <p:nvPr/>
        </p:nvSpPr>
        <p:spPr>
          <a:xfrm>
            <a:off x="768194" y="966722"/>
            <a:ext cx="10191565" cy="584775"/>
          </a:xfrm>
          <a:prstGeom prst="rect">
            <a:avLst/>
          </a:prstGeom>
          <a:noFill/>
        </p:spPr>
        <p:txBody>
          <a:bodyPr wrap="square" rtlCol="0">
            <a:spAutoFit/>
          </a:bodyPr>
          <a:lstStyle/>
          <a:p>
            <a:r>
              <a:rPr lang="en-US" sz="1600"/>
              <a:t>ML model performance for randomly selected dates from the test dataset shows better correlation between interpolated and observed </a:t>
            </a:r>
            <a:r>
              <a:rPr lang="en-US" sz="1600" u="sng"/>
              <a:t>Average Wind Speed</a:t>
            </a:r>
            <a:r>
              <a:rPr lang="en-US" sz="1600"/>
              <a:t> data.</a:t>
            </a:r>
            <a:endParaRPr lang="en-US" sz="1600" baseline="30000"/>
          </a:p>
        </p:txBody>
      </p:sp>
      <p:pic>
        <p:nvPicPr>
          <p:cNvPr id="6" name="Picture 5">
            <a:extLst>
              <a:ext uri="{FF2B5EF4-FFF2-40B4-BE49-F238E27FC236}">
                <a16:creationId xmlns:a16="http://schemas.microsoft.com/office/drawing/2014/main" id="{5E2191B3-98E6-B694-F261-D599E1961C3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870599" y="1835907"/>
            <a:ext cx="2905367" cy="2258497"/>
          </a:xfrm>
          <a:prstGeom prst="rect">
            <a:avLst/>
          </a:prstGeom>
        </p:spPr>
      </p:pic>
      <p:pic>
        <p:nvPicPr>
          <p:cNvPr id="8" name="Picture 7">
            <a:extLst>
              <a:ext uri="{FF2B5EF4-FFF2-40B4-BE49-F238E27FC236}">
                <a16:creationId xmlns:a16="http://schemas.microsoft.com/office/drawing/2014/main" id="{B9E0931F-AF13-AB52-802B-BAF25FB5B5C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888259" y="4377147"/>
            <a:ext cx="2905517" cy="2282639"/>
          </a:xfrm>
          <a:prstGeom prst="rect">
            <a:avLst/>
          </a:prstGeom>
        </p:spPr>
      </p:pic>
      <p:sp>
        <p:nvSpPr>
          <p:cNvPr id="3" name="TextBox 2">
            <a:extLst>
              <a:ext uri="{FF2B5EF4-FFF2-40B4-BE49-F238E27FC236}">
                <a16:creationId xmlns:a16="http://schemas.microsoft.com/office/drawing/2014/main" id="{5F7FACEC-2C6D-D3DC-7CE3-9725CEF51CBD}"/>
              </a:ext>
            </a:extLst>
          </p:cNvPr>
          <p:cNvSpPr txBox="1"/>
          <p:nvPr/>
        </p:nvSpPr>
        <p:spPr>
          <a:xfrm rot="16200000">
            <a:off x="33028"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0" name="TextBox 9">
            <a:extLst>
              <a:ext uri="{FF2B5EF4-FFF2-40B4-BE49-F238E27FC236}">
                <a16:creationId xmlns:a16="http://schemas.microsoft.com/office/drawing/2014/main" id="{807632C2-D134-EB7B-7CE3-0A7B09307782}"/>
              </a:ext>
            </a:extLst>
          </p:cNvPr>
          <p:cNvSpPr txBox="1"/>
          <p:nvPr/>
        </p:nvSpPr>
        <p:spPr>
          <a:xfrm rot="16200000">
            <a:off x="33029" y="5242251"/>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13" name="TextBox 12">
            <a:extLst>
              <a:ext uri="{FF2B5EF4-FFF2-40B4-BE49-F238E27FC236}">
                <a16:creationId xmlns:a16="http://schemas.microsoft.com/office/drawing/2014/main" id="{13351FEE-D1E1-907D-1976-25C38EF128B7}"/>
              </a:ext>
            </a:extLst>
          </p:cNvPr>
          <p:cNvSpPr txBox="1"/>
          <p:nvPr/>
        </p:nvSpPr>
        <p:spPr>
          <a:xfrm rot="16200000">
            <a:off x="5720977" y="2754599"/>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4" name="TextBox 13">
            <a:extLst>
              <a:ext uri="{FF2B5EF4-FFF2-40B4-BE49-F238E27FC236}">
                <a16:creationId xmlns:a16="http://schemas.microsoft.com/office/drawing/2014/main" id="{4EC5EB06-36D2-6658-1316-98146D19F721}"/>
              </a:ext>
            </a:extLst>
          </p:cNvPr>
          <p:cNvSpPr txBox="1"/>
          <p:nvPr/>
        </p:nvSpPr>
        <p:spPr>
          <a:xfrm rot="16200000">
            <a:off x="5720978" y="5181786"/>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Tree>
    <p:extLst>
      <p:ext uri="{BB962C8B-B14F-4D97-AF65-F5344CB8AC3E}">
        <p14:creationId xmlns:p14="http://schemas.microsoft.com/office/powerpoint/2010/main" val="1341090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Average Wind Speed</a:t>
            </a:r>
          </a:p>
        </p:txBody>
      </p:sp>
      <p:pic>
        <p:nvPicPr>
          <p:cNvPr id="5" name="Picture 4">
            <a:extLst>
              <a:ext uri="{FF2B5EF4-FFF2-40B4-BE49-F238E27FC236}">
                <a16:creationId xmlns:a16="http://schemas.microsoft.com/office/drawing/2014/main" id="{FFB1E75E-CD71-507C-BB0A-BE0ACF1CB6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88669" y="1775533"/>
            <a:ext cx="5814662" cy="4317819"/>
          </a:xfrm>
          <a:prstGeom prst="rect">
            <a:avLst/>
          </a:prstGeom>
        </p:spPr>
      </p:pic>
      <p:sp>
        <p:nvSpPr>
          <p:cNvPr id="2" name="Slide Number Placeholder 1">
            <a:extLst>
              <a:ext uri="{FF2B5EF4-FFF2-40B4-BE49-F238E27FC236}">
                <a16:creationId xmlns:a16="http://schemas.microsoft.com/office/drawing/2014/main" id="{13DBE0CA-2E0D-B5BD-10B2-DA3C2EE8EEE3}"/>
              </a:ext>
            </a:extLst>
          </p:cNvPr>
          <p:cNvSpPr>
            <a:spLocks noGrp="1"/>
          </p:cNvSpPr>
          <p:nvPr>
            <p:ph type="sldNum" sz="quarter" idx="12"/>
          </p:nvPr>
        </p:nvSpPr>
        <p:spPr/>
        <p:txBody>
          <a:bodyPr/>
          <a:lstStyle/>
          <a:p>
            <a:fld id="{EEAD9179-7A6B-4268-BEB2-F3B8EB06115B}" type="slidenum">
              <a:rPr lang="en-US" smtClean="0"/>
              <a:pPr/>
              <a:t>34</a:t>
            </a:fld>
            <a:endParaRPr lang="en-US"/>
          </a:p>
        </p:txBody>
      </p:sp>
      <p:sp>
        <p:nvSpPr>
          <p:cNvPr id="7" name="TextBox 6">
            <a:extLst>
              <a:ext uri="{FF2B5EF4-FFF2-40B4-BE49-F238E27FC236}">
                <a16:creationId xmlns:a16="http://schemas.microsoft.com/office/drawing/2014/main" id="{FD8378DE-F5EB-1E8C-883F-7E3E98AD8C06}"/>
              </a:ext>
            </a:extLst>
          </p:cNvPr>
          <p:cNvSpPr txBox="1"/>
          <p:nvPr/>
        </p:nvSpPr>
        <p:spPr>
          <a:xfrm>
            <a:off x="768194" y="1058022"/>
            <a:ext cx="10562672" cy="369332"/>
          </a:xfrm>
          <a:prstGeom prst="rect">
            <a:avLst/>
          </a:prstGeom>
          <a:noFill/>
        </p:spPr>
        <p:txBody>
          <a:bodyPr wrap="square" rtlCol="0">
            <a:spAutoFit/>
          </a:bodyPr>
          <a:lstStyle/>
          <a:p>
            <a:r>
              <a:rPr lang="en-US"/>
              <a:t>Overall, ML model performance is satisfactory for daily </a:t>
            </a:r>
            <a:r>
              <a:rPr lang="en-US" u="sng"/>
              <a:t>Average Wind Speed</a:t>
            </a:r>
            <a:r>
              <a:rPr lang="en-US"/>
              <a:t> datasets from the test set.</a:t>
            </a:r>
          </a:p>
        </p:txBody>
      </p:sp>
      <p:sp>
        <p:nvSpPr>
          <p:cNvPr id="3" name="TextBox 2">
            <a:extLst>
              <a:ext uri="{FF2B5EF4-FFF2-40B4-BE49-F238E27FC236}">
                <a16:creationId xmlns:a16="http://schemas.microsoft.com/office/drawing/2014/main" id="{70038EA7-000B-214F-556F-2D23D78E72CB}"/>
              </a:ext>
            </a:extLst>
          </p:cNvPr>
          <p:cNvSpPr txBox="1"/>
          <p:nvPr/>
        </p:nvSpPr>
        <p:spPr>
          <a:xfrm>
            <a:off x="3358822" y="6154880"/>
            <a:ext cx="6036906" cy="646331"/>
          </a:xfrm>
          <a:prstGeom prst="rect">
            <a:avLst/>
          </a:prstGeom>
          <a:noFill/>
        </p:spPr>
        <p:txBody>
          <a:bodyPr wrap="square" rtlCol="0">
            <a:spAutoFit/>
          </a:bodyPr>
          <a:lstStyle/>
          <a:p>
            <a:pPr algn="ctr"/>
            <a:r>
              <a:rPr lang="en-US" b="1">
                <a:solidFill>
                  <a:schemeClr val="accent6">
                    <a:lumMod val="75000"/>
                  </a:schemeClr>
                </a:solidFill>
              </a:rPr>
              <a:t>R</a:t>
            </a:r>
            <a:r>
              <a:rPr lang="en-US" b="1" baseline="30000">
                <a:solidFill>
                  <a:schemeClr val="accent6">
                    <a:lumMod val="75000"/>
                  </a:schemeClr>
                </a:solidFill>
              </a:rPr>
              <a:t>2</a:t>
            </a:r>
            <a:r>
              <a:rPr lang="en-US" b="1">
                <a:solidFill>
                  <a:schemeClr val="accent6">
                    <a:lumMod val="75000"/>
                  </a:schemeClr>
                </a:solidFill>
              </a:rPr>
              <a:t> comparison Before and After Applying ML Model </a:t>
            </a:r>
            <a:r>
              <a:rPr lang="en-US" b="1" u="sng">
                <a:solidFill>
                  <a:schemeClr val="accent6">
                    <a:lumMod val="75000"/>
                  </a:schemeClr>
                </a:solidFill>
              </a:rPr>
              <a:t>for days in Test Dataset </a:t>
            </a:r>
            <a:endParaRPr lang="en-US" b="1">
              <a:solidFill>
                <a:schemeClr val="accent6">
                  <a:lumMod val="75000"/>
                </a:schemeClr>
              </a:solidFill>
            </a:endParaRPr>
          </a:p>
        </p:txBody>
      </p:sp>
      <p:sp>
        <p:nvSpPr>
          <p:cNvPr id="6" name="TextBox 5">
            <a:extLst>
              <a:ext uri="{FF2B5EF4-FFF2-40B4-BE49-F238E27FC236}">
                <a16:creationId xmlns:a16="http://schemas.microsoft.com/office/drawing/2014/main" id="{D9D897AA-F547-B38D-5EC7-6F9B21D992C9}"/>
              </a:ext>
            </a:extLst>
          </p:cNvPr>
          <p:cNvSpPr txBox="1"/>
          <p:nvPr/>
        </p:nvSpPr>
        <p:spPr>
          <a:xfrm>
            <a:off x="4496955" y="5594983"/>
            <a:ext cx="1552575" cy="307777"/>
          </a:xfrm>
          <a:prstGeom prst="rect">
            <a:avLst/>
          </a:prstGeom>
          <a:solidFill>
            <a:schemeClr val="bg1"/>
          </a:solidFill>
        </p:spPr>
        <p:txBody>
          <a:bodyPr wrap="square" rtlCol="0">
            <a:spAutoFit/>
          </a:bodyPr>
          <a:lstStyle/>
          <a:p>
            <a:r>
              <a:rPr lang="en-US" sz="1400"/>
              <a:t>Before ML applied</a:t>
            </a:r>
          </a:p>
        </p:txBody>
      </p:sp>
      <p:sp>
        <p:nvSpPr>
          <p:cNvPr id="10" name="TextBox 9">
            <a:extLst>
              <a:ext uri="{FF2B5EF4-FFF2-40B4-BE49-F238E27FC236}">
                <a16:creationId xmlns:a16="http://schemas.microsoft.com/office/drawing/2014/main" id="{CC650680-B20E-2E1A-596D-9106EFE41B86}"/>
              </a:ext>
            </a:extLst>
          </p:cNvPr>
          <p:cNvSpPr txBox="1"/>
          <p:nvPr/>
        </p:nvSpPr>
        <p:spPr>
          <a:xfrm>
            <a:off x="6954405" y="5594982"/>
            <a:ext cx="1552575" cy="307777"/>
          </a:xfrm>
          <a:prstGeom prst="rect">
            <a:avLst/>
          </a:prstGeom>
          <a:solidFill>
            <a:schemeClr val="bg1"/>
          </a:solidFill>
        </p:spPr>
        <p:txBody>
          <a:bodyPr wrap="square" rtlCol="0">
            <a:spAutoFit/>
          </a:bodyPr>
          <a:lstStyle/>
          <a:p>
            <a:r>
              <a:rPr lang="en-US" sz="1400"/>
              <a:t>After ML applied</a:t>
            </a:r>
          </a:p>
        </p:txBody>
      </p:sp>
      <p:sp>
        <p:nvSpPr>
          <p:cNvPr id="11" name="TextBox 10">
            <a:extLst>
              <a:ext uri="{FF2B5EF4-FFF2-40B4-BE49-F238E27FC236}">
                <a16:creationId xmlns:a16="http://schemas.microsoft.com/office/drawing/2014/main" id="{1A922FD9-3DB5-C721-F8E1-C6A531459DCE}"/>
              </a:ext>
            </a:extLst>
          </p:cNvPr>
          <p:cNvSpPr txBox="1"/>
          <p:nvPr/>
        </p:nvSpPr>
        <p:spPr>
          <a:xfrm>
            <a:off x="5726835" y="5814938"/>
            <a:ext cx="1552575" cy="307777"/>
          </a:xfrm>
          <a:prstGeom prst="rect">
            <a:avLst/>
          </a:prstGeom>
          <a:solidFill>
            <a:schemeClr val="bg1"/>
          </a:solidFill>
        </p:spPr>
        <p:txBody>
          <a:bodyPr wrap="square" rtlCol="0">
            <a:spAutoFit/>
          </a:bodyPr>
          <a:lstStyle/>
          <a:p>
            <a:pPr algn="ctr"/>
            <a:r>
              <a:rPr lang="en-US" sz="1400"/>
              <a:t>Performance</a:t>
            </a:r>
          </a:p>
        </p:txBody>
      </p:sp>
    </p:spTree>
    <p:extLst>
      <p:ext uri="{BB962C8B-B14F-4D97-AF65-F5344CB8AC3E}">
        <p14:creationId xmlns:p14="http://schemas.microsoft.com/office/powerpoint/2010/main" val="40545254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675002" y="248459"/>
            <a:ext cx="11514348" cy="1084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a:solidFill>
                  <a:schemeClr val="accent1">
                    <a:lumMod val="50000"/>
                  </a:schemeClr>
                </a:solidFill>
                <a:latin typeface="Arial"/>
                <a:cs typeface="Calibri Light"/>
              </a:rPr>
              <a:t>Mapping Source and Modeled Data : Average Wind Speed </a:t>
            </a:r>
          </a:p>
        </p:txBody>
      </p:sp>
      <p:pic>
        <p:nvPicPr>
          <p:cNvPr id="3" name="Picture 2">
            <a:extLst>
              <a:ext uri="{FF2B5EF4-FFF2-40B4-BE49-F238E27FC236}">
                <a16:creationId xmlns:a16="http://schemas.microsoft.com/office/drawing/2014/main" id="{16BBEA49-B7C7-2619-44DA-70CDEE7990C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71053" y="2202041"/>
            <a:ext cx="8249894" cy="3483122"/>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smtClean="0"/>
              <a:t>35</a:t>
            </a:fld>
            <a:endParaRPr lang="en-US" noProof="0"/>
          </a:p>
        </p:txBody>
      </p:sp>
      <p:sp>
        <p:nvSpPr>
          <p:cNvPr id="4" name="TextBox 3">
            <a:extLst>
              <a:ext uri="{FF2B5EF4-FFF2-40B4-BE49-F238E27FC236}">
                <a16:creationId xmlns:a16="http://schemas.microsoft.com/office/drawing/2014/main" id="{07BBA27D-027A-E644-50E4-A8E16BCA174A}"/>
              </a:ext>
            </a:extLst>
          </p:cNvPr>
          <p:cNvSpPr txBox="1"/>
          <p:nvPr/>
        </p:nvSpPr>
        <p:spPr>
          <a:xfrm>
            <a:off x="1015661" y="1297125"/>
            <a:ext cx="10562672" cy="646331"/>
          </a:xfrm>
          <a:prstGeom prst="rect">
            <a:avLst/>
          </a:prstGeom>
          <a:noFill/>
        </p:spPr>
        <p:txBody>
          <a:bodyPr wrap="square" rtlCol="0">
            <a:spAutoFit/>
          </a:bodyPr>
          <a:lstStyle/>
          <a:p>
            <a:r>
              <a:rPr lang="en-US"/>
              <a:t>Model interpolated high-resolution </a:t>
            </a:r>
            <a:r>
              <a:rPr lang="en-US" u="sng"/>
              <a:t>Average Wind Speed</a:t>
            </a:r>
            <a:r>
              <a:rPr lang="en-US"/>
              <a:t> data has good spatial agreement with observed (TWC) high-resolution data.  </a:t>
            </a:r>
          </a:p>
        </p:txBody>
      </p:sp>
    </p:spTree>
    <p:extLst>
      <p:ext uri="{BB962C8B-B14F-4D97-AF65-F5344CB8AC3E}">
        <p14:creationId xmlns:p14="http://schemas.microsoft.com/office/powerpoint/2010/main" val="10524359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Maximum Temperature</a:t>
            </a:r>
          </a:p>
        </p:txBody>
      </p:sp>
      <p:sp>
        <p:nvSpPr>
          <p:cNvPr id="3" name="Slide Number Placeholder 2">
            <a:extLst>
              <a:ext uri="{FF2B5EF4-FFF2-40B4-BE49-F238E27FC236}">
                <a16:creationId xmlns:a16="http://schemas.microsoft.com/office/drawing/2014/main" id="{B32175AB-1DB3-5446-7E5C-A305118EF0B3}"/>
              </a:ext>
            </a:extLst>
          </p:cNvPr>
          <p:cNvSpPr>
            <a:spLocks noGrp="1"/>
          </p:cNvSpPr>
          <p:nvPr>
            <p:ph type="sldNum" sz="quarter" idx="12"/>
          </p:nvPr>
        </p:nvSpPr>
        <p:spPr/>
        <p:txBody>
          <a:bodyPr/>
          <a:lstStyle/>
          <a:p>
            <a:fld id="{EEAD9179-7A6B-4268-BEB2-F3B8EB06115B}" type="slidenum">
              <a:rPr lang="en-US" noProof="0" smtClean="0"/>
              <a:t>36</a:t>
            </a:fld>
            <a:endParaRPr lang="en-US" noProof="0"/>
          </a:p>
        </p:txBody>
      </p:sp>
      <p:pic>
        <p:nvPicPr>
          <p:cNvPr id="4" name="Picture 3">
            <a:extLst>
              <a:ext uri="{FF2B5EF4-FFF2-40B4-BE49-F238E27FC236}">
                <a16:creationId xmlns:a16="http://schemas.microsoft.com/office/drawing/2014/main" id="{C0ED79BE-6CE6-7120-DA3B-2AD0866D8AC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318577" y="2240153"/>
            <a:ext cx="3535736" cy="2660821"/>
          </a:xfrm>
          <a:prstGeom prst="rect">
            <a:avLst/>
          </a:prstGeom>
        </p:spPr>
      </p:pic>
      <p:pic>
        <p:nvPicPr>
          <p:cNvPr id="5" name="Picture 4">
            <a:extLst>
              <a:ext uri="{FF2B5EF4-FFF2-40B4-BE49-F238E27FC236}">
                <a16:creationId xmlns:a16="http://schemas.microsoft.com/office/drawing/2014/main" id="{56CC5859-96F2-5188-5BEE-E299DB03A43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23529" y="2228849"/>
            <a:ext cx="3528109" cy="2678072"/>
          </a:xfrm>
          <a:prstGeom prst="rect">
            <a:avLst/>
          </a:prstGeom>
        </p:spPr>
      </p:pic>
      <p:pic>
        <p:nvPicPr>
          <p:cNvPr id="6" name="Picture 5">
            <a:extLst>
              <a:ext uri="{FF2B5EF4-FFF2-40B4-BE49-F238E27FC236}">
                <a16:creationId xmlns:a16="http://schemas.microsoft.com/office/drawing/2014/main" id="{7CF2DA5D-F5EB-25AB-490D-0B21CB7C30F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98616" y="2240153"/>
            <a:ext cx="3547762" cy="2660821"/>
          </a:xfrm>
          <a:prstGeom prst="rect">
            <a:avLst/>
          </a:prstGeom>
        </p:spPr>
      </p:pic>
      <p:sp>
        <p:nvSpPr>
          <p:cNvPr id="2" name="TextBox 1">
            <a:extLst>
              <a:ext uri="{FF2B5EF4-FFF2-40B4-BE49-F238E27FC236}">
                <a16:creationId xmlns:a16="http://schemas.microsoft.com/office/drawing/2014/main" id="{7954C781-6118-2324-A69A-96D5BF3A525F}"/>
              </a:ext>
            </a:extLst>
          </p:cNvPr>
          <p:cNvSpPr txBox="1"/>
          <p:nvPr/>
        </p:nvSpPr>
        <p:spPr>
          <a:xfrm>
            <a:off x="900246" y="1144846"/>
            <a:ext cx="10191565" cy="646331"/>
          </a:xfrm>
          <a:prstGeom prst="rect">
            <a:avLst/>
          </a:prstGeom>
          <a:noFill/>
        </p:spPr>
        <p:txBody>
          <a:bodyPr wrap="square" rtlCol="0">
            <a:spAutoFit/>
          </a:bodyPr>
          <a:lstStyle/>
          <a:p>
            <a:r>
              <a:rPr lang="en-US"/>
              <a:t>ML model (GOSS) interpolated </a:t>
            </a:r>
            <a:r>
              <a:rPr lang="en-US" u="sng"/>
              <a:t>Maximum Temperature</a:t>
            </a:r>
            <a:r>
              <a:rPr lang="en-US"/>
              <a:t> has improved R</a:t>
            </a:r>
            <a:r>
              <a:rPr lang="en-US" baseline="30000"/>
              <a:t>2 </a:t>
            </a:r>
            <a:r>
              <a:rPr lang="en-US"/>
              <a:t>correlation with observed data in both train and test set.</a:t>
            </a:r>
            <a:r>
              <a:rPr lang="en-US" baseline="30000"/>
              <a:t> </a:t>
            </a:r>
          </a:p>
        </p:txBody>
      </p:sp>
      <p:sp>
        <p:nvSpPr>
          <p:cNvPr id="10" name="TextBox 9">
            <a:extLst>
              <a:ext uri="{FF2B5EF4-FFF2-40B4-BE49-F238E27FC236}">
                <a16:creationId xmlns:a16="http://schemas.microsoft.com/office/drawing/2014/main" id="{A5B8E978-F446-1F16-200D-8D12F70153EA}"/>
              </a:ext>
            </a:extLst>
          </p:cNvPr>
          <p:cNvSpPr txBox="1"/>
          <p:nvPr/>
        </p:nvSpPr>
        <p:spPr>
          <a:xfrm>
            <a:off x="643354" y="5317235"/>
            <a:ext cx="2743200" cy="584775"/>
          </a:xfrm>
          <a:prstGeom prst="rect">
            <a:avLst/>
          </a:prstGeom>
          <a:noFill/>
        </p:spPr>
        <p:txBody>
          <a:bodyPr wrap="square" rtlCol="0">
            <a:spAutoFit/>
          </a:bodyPr>
          <a:lstStyle/>
          <a:p>
            <a:pPr algn="ctr"/>
            <a:r>
              <a:rPr lang="en-US" sz="1600" i="1"/>
              <a:t>resampled ERA5 data (4km) vs </a:t>
            </a:r>
          </a:p>
          <a:p>
            <a:pPr algn="ctr"/>
            <a:r>
              <a:rPr lang="en-US" sz="1600" i="1"/>
              <a:t>TWC Data (4km)</a:t>
            </a:r>
            <a:endParaRPr lang="en-US" sz="1600"/>
          </a:p>
        </p:txBody>
      </p:sp>
      <p:sp>
        <p:nvSpPr>
          <p:cNvPr id="11" name="TextBox 10">
            <a:extLst>
              <a:ext uri="{FF2B5EF4-FFF2-40B4-BE49-F238E27FC236}">
                <a16:creationId xmlns:a16="http://schemas.microsoft.com/office/drawing/2014/main" id="{69746201-59CB-8400-E348-6986280E0725}"/>
              </a:ext>
            </a:extLst>
          </p:cNvPr>
          <p:cNvSpPr txBox="1"/>
          <p:nvPr/>
        </p:nvSpPr>
        <p:spPr>
          <a:xfrm>
            <a:off x="4491037" y="5176070"/>
            <a:ext cx="32099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rgbClr val="7030A0"/>
                </a:solidFill>
              </a:rPr>
              <a:t>train</a:t>
            </a:r>
            <a:r>
              <a:rPr lang="en-US" sz="1600"/>
              <a:t> set)</a:t>
            </a:r>
          </a:p>
        </p:txBody>
      </p:sp>
      <p:sp>
        <p:nvSpPr>
          <p:cNvPr id="12" name="TextBox 11">
            <a:extLst>
              <a:ext uri="{FF2B5EF4-FFF2-40B4-BE49-F238E27FC236}">
                <a16:creationId xmlns:a16="http://schemas.microsoft.com/office/drawing/2014/main" id="{D82C1762-FD2A-563D-6DD0-F3B46230EEC3}"/>
              </a:ext>
            </a:extLst>
          </p:cNvPr>
          <p:cNvSpPr txBox="1"/>
          <p:nvPr/>
        </p:nvSpPr>
        <p:spPr>
          <a:xfrm>
            <a:off x="8441497" y="5176070"/>
            <a:ext cx="33242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chemeClr val="accent2">
                    <a:lumMod val="75000"/>
                  </a:schemeClr>
                </a:solidFill>
              </a:rPr>
              <a:t>test</a:t>
            </a:r>
            <a:r>
              <a:rPr lang="en-US" sz="1600"/>
              <a:t> set)</a:t>
            </a:r>
          </a:p>
        </p:txBody>
      </p:sp>
      <p:sp>
        <p:nvSpPr>
          <p:cNvPr id="7" name="TextBox 6">
            <a:extLst>
              <a:ext uri="{FF2B5EF4-FFF2-40B4-BE49-F238E27FC236}">
                <a16:creationId xmlns:a16="http://schemas.microsoft.com/office/drawing/2014/main" id="{CD1C828C-05FF-C666-6546-DDD712665BB8}"/>
              </a:ext>
            </a:extLst>
          </p:cNvPr>
          <p:cNvSpPr txBox="1"/>
          <p:nvPr/>
        </p:nvSpPr>
        <p:spPr>
          <a:xfrm>
            <a:off x="685745" y="2324049"/>
            <a:ext cx="415265" cy="276999"/>
          </a:xfrm>
          <a:prstGeom prst="rect">
            <a:avLst/>
          </a:prstGeom>
          <a:solidFill>
            <a:schemeClr val="bg1"/>
          </a:solidFill>
        </p:spPr>
        <p:txBody>
          <a:bodyPr wrap="square" rtlCol="0">
            <a:spAutoFit/>
          </a:bodyPr>
          <a:lstStyle/>
          <a:p>
            <a:pPr algn="r"/>
            <a:r>
              <a:rPr lang="en-US" sz="1200"/>
              <a:t>R</a:t>
            </a:r>
            <a:r>
              <a:rPr lang="en-US" sz="1200" baseline="30000"/>
              <a:t>2</a:t>
            </a:r>
            <a:r>
              <a:rPr lang="en-US" sz="1200"/>
              <a:t>:</a:t>
            </a:r>
          </a:p>
        </p:txBody>
      </p:sp>
      <p:sp>
        <p:nvSpPr>
          <p:cNvPr id="8" name="TextBox 7">
            <a:extLst>
              <a:ext uri="{FF2B5EF4-FFF2-40B4-BE49-F238E27FC236}">
                <a16:creationId xmlns:a16="http://schemas.microsoft.com/office/drawing/2014/main" id="{BA7018AD-2932-AEE6-95A5-3ED2089ADA2B}"/>
              </a:ext>
            </a:extLst>
          </p:cNvPr>
          <p:cNvSpPr txBox="1"/>
          <p:nvPr/>
        </p:nvSpPr>
        <p:spPr>
          <a:xfrm>
            <a:off x="4597810" y="2312606"/>
            <a:ext cx="415265" cy="276999"/>
          </a:xfrm>
          <a:prstGeom prst="rect">
            <a:avLst/>
          </a:prstGeom>
          <a:solidFill>
            <a:schemeClr val="bg1"/>
          </a:solidFill>
        </p:spPr>
        <p:txBody>
          <a:bodyPr wrap="square" rtlCol="0">
            <a:spAutoFit/>
          </a:bodyPr>
          <a:lstStyle/>
          <a:p>
            <a:pPr algn="r"/>
            <a:r>
              <a:rPr lang="en-US" sz="1200"/>
              <a:t>R</a:t>
            </a:r>
            <a:r>
              <a:rPr lang="en-US" sz="1200" baseline="30000"/>
              <a:t>2</a:t>
            </a:r>
            <a:r>
              <a:rPr lang="en-US" sz="1200"/>
              <a:t>:</a:t>
            </a:r>
          </a:p>
        </p:txBody>
      </p:sp>
      <p:sp>
        <p:nvSpPr>
          <p:cNvPr id="13" name="TextBox 12">
            <a:extLst>
              <a:ext uri="{FF2B5EF4-FFF2-40B4-BE49-F238E27FC236}">
                <a16:creationId xmlns:a16="http://schemas.microsoft.com/office/drawing/2014/main" id="{C2D262AF-1027-98E0-3D1B-22BE8C68EC0C}"/>
              </a:ext>
            </a:extLst>
          </p:cNvPr>
          <p:cNvSpPr txBox="1"/>
          <p:nvPr/>
        </p:nvSpPr>
        <p:spPr>
          <a:xfrm>
            <a:off x="8798251" y="2319744"/>
            <a:ext cx="415265" cy="276999"/>
          </a:xfrm>
          <a:prstGeom prst="rect">
            <a:avLst/>
          </a:prstGeom>
          <a:solidFill>
            <a:schemeClr val="bg1"/>
          </a:solidFill>
        </p:spPr>
        <p:txBody>
          <a:bodyPr wrap="square" rtlCol="0">
            <a:spAutoFit/>
          </a:bodyPr>
          <a:lstStyle/>
          <a:p>
            <a:pPr algn="r"/>
            <a:r>
              <a:rPr lang="en-US" sz="1200"/>
              <a:t>R</a:t>
            </a:r>
            <a:r>
              <a:rPr lang="en-US" sz="1200" baseline="30000"/>
              <a:t>2</a:t>
            </a:r>
            <a:r>
              <a:rPr lang="en-US" sz="1200"/>
              <a:t>:</a:t>
            </a:r>
          </a:p>
        </p:txBody>
      </p:sp>
    </p:spTree>
    <p:extLst>
      <p:ext uri="{BB962C8B-B14F-4D97-AF65-F5344CB8AC3E}">
        <p14:creationId xmlns:p14="http://schemas.microsoft.com/office/powerpoint/2010/main" val="3126584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accent1">
                    <a:lumMod val="50000"/>
                  </a:schemeClr>
                </a:solidFill>
                <a:latin typeface="Arial"/>
                <a:cs typeface="Arial"/>
              </a:rPr>
              <a:t>ML Model Results : Maximum Temperature</a:t>
            </a:r>
          </a:p>
        </p:txBody>
      </p:sp>
      <p:cxnSp>
        <p:nvCxnSpPr>
          <p:cNvPr id="24" name="Straight Connector 23">
            <a:extLst>
              <a:ext uri="{FF2B5EF4-FFF2-40B4-BE49-F238E27FC236}">
                <a16:creationId xmlns:a16="http://schemas.microsoft.com/office/drawing/2014/main" id="{99D01E62-F77D-E62A-0C2D-824A66B5AD7B}"/>
              </a:ext>
            </a:extLst>
          </p:cNvPr>
          <p:cNvCxnSpPr>
            <a:cxnSpLocks/>
          </p:cNvCxnSpPr>
          <p:nvPr/>
        </p:nvCxnSpPr>
        <p:spPr>
          <a:xfrm>
            <a:off x="6096000" y="1686757"/>
            <a:ext cx="0" cy="4983876"/>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1B7C3091-DEA4-66D1-884C-6CB2FD58DB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85617" y="4409627"/>
            <a:ext cx="2849310" cy="2250022"/>
          </a:xfrm>
          <a:prstGeom prst="rect">
            <a:avLst/>
          </a:prstGeom>
        </p:spPr>
      </p:pic>
      <p:pic>
        <p:nvPicPr>
          <p:cNvPr id="7" name="Picture 6">
            <a:extLst>
              <a:ext uri="{FF2B5EF4-FFF2-40B4-BE49-F238E27FC236}">
                <a16:creationId xmlns:a16="http://schemas.microsoft.com/office/drawing/2014/main" id="{B5713B37-2314-473A-D0AE-587C49D1A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908319" y="1830924"/>
            <a:ext cx="2903612" cy="2289810"/>
          </a:xfrm>
          <a:prstGeom prst="rect">
            <a:avLst/>
          </a:prstGeom>
        </p:spPr>
      </p:pic>
      <p:sp>
        <p:nvSpPr>
          <p:cNvPr id="2" name="Slide Number Placeholder 1">
            <a:extLst>
              <a:ext uri="{FF2B5EF4-FFF2-40B4-BE49-F238E27FC236}">
                <a16:creationId xmlns:a16="http://schemas.microsoft.com/office/drawing/2014/main" id="{D6F33AD6-BCD0-7BD2-5890-1C682DC785B4}"/>
              </a:ext>
            </a:extLst>
          </p:cNvPr>
          <p:cNvSpPr>
            <a:spLocks noGrp="1"/>
          </p:cNvSpPr>
          <p:nvPr>
            <p:ph type="sldNum" sz="quarter" idx="12"/>
          </p:nvPr>
        </p:nvSpPr>
        <p:spPr/>
        <p:txBody>
          <a:bodyPr/>
          <a:lstStyle/>
          <a:p>
            <a:fld id="{EEAD9179-7A6B-4268-BEB2-F3B8EB06115B}" type="slidenum">
              <a:rPr lang="en-US" noProof="0" smtClean="0"/>
              <a:t>37</a:t>
            </a:fld>
            <a:endParaRPr lang="en-US" noProof="0"/>
          </a:p>
        </p:txBody>
      </p:sp>
      <p:sp>
        <p:nvSpPr>
          <p:cNvPr id="5" name="TextBox 4">
            <a:extLst>
              <a:ext uri="{FF2B5EF4-FFF2-40B4-BE49-F238E27FC236}">
                <a16:creationId xmlns:a16="http://schemas.microsoft.com/office/drawing/2014/main" id="{BC1754F1-682A-BE94-E0A0-10CA6FA4AE0D}"/>
              </a:ext>
            </a:extLst>
          </p:cNvPr>
          <p:cNvSpPr txBox="1"/>
          <p:nvPr/>
        </p:nvSpPr>
        <p:spPr>
          <a:xfrm>
            <a:off x="768194" y="966722"/>
            <a:ext cx="10191565" cy="584775"/>
          </a:xfrm>
          <a:prstGeom prst="rect">
            <a:avLst/>
          </a:prstGeom>
          <a:noFill/>
        </p:spPr>
        <p:txBody>
          <a:bodyPr wrap="square" rtlCol="0">
            <a:spAutoFit/>
          </a:bodyPr>
          <a:lstStyle/>
          <a:p>
            <a:r>
              <a:rPr lang="en-US" sz="1600"/>
              <a:t>ML model performance for randomly selected dates from the test dataset shows better correlation between interpolated and observed </a:t>
            </a:r>
            <a:r>
              <a:rPr lang="en-US" sz="1600" u="sng"/>
              <a:t>Maximum Temperature</a:t>
            </a:r>
            <a:r>
              <a:rPr lang="en-US" sz="1600"/>
              <a:t> data.</a:t>
            </a:r>
            <a:endParaRPr lang="en-US" sz="1600" baseline="30000"/>
          </a:p>
        </p:txBody>
      </p:sp>
      <p:pic>
        <p:nvPicPr>
          <p:cNvPr id="6" name="Picture 5">
            <a:extLst>
              <a:ext uri="{FF2B5EF4-FFF2-40B4-BE49-F238E27FC236}">
                <a16:creationId xmlns:a16="http://schemas.microsoft.com/office/drawing/2014/main" id="{5E2191B3-98E6-B694-F261-D599E1961C3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870599" y="1840380"/>
            <a:ext cx="2905367" cy="2249552"/>
          </a:xfrm>
          <a:prstGeom prst="rect">
            <a:avLst/>
          </a:prstGeom>
        </p:spPr>
      </p:pic>
      <p:pic>
        <p:nvPicPr>
          <p:cNvPr id="8" name="Picture 7">
            <a:extLst>
              <a:ext uri="{FF2B5EF4-FFF2-40B4-BE49-F238E27FC236}">
                <a16:creationId xmlns:a16="http://schemas.microsoft.com/office/drawing/2014/main" id="{B9E0931F-AF13-AB52-802B-BAF25FB5B5C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888259" y="4398744"/>
            <a:ext cx="2905517" cy="2239444"/>
          </a:xfrm>
          <a:prstGeom prst="rect">
            <a:avLst/>
          </a:prstGeom>
        </p:spPr>
      </p:pic>
      <p:sp>
        <p:nvSpPr>
          <p:cNvPr id="13" name="TextBox 12">
            <a:extLst>
              <a:ext uri="{FF2B5EF4-FFF2-40B4-BE49-F238E27FC236}">
                <a16:creationId xmlns:a16="http://schemas.microsoft.com/office/drawing/2014/main" id="{038F1632-34AB-40CF-A0B0-8681105383B3}"/>
              </a:ext>
            </a:extLst>
          </p:cNvPr>
          <p:cNvSpPr txBox="1"/>
          <p:nvPr/>
        </p:nvSpPr>
        <p:spPr>
          <a:xfrm rot="16200000">
            <a:off x="33028"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4" name="TextBox 13">
            <a:extLst>
              <a:ext uri="{FF2B5EF4-FFF2-40B4-BE49-F238E27FC236}">
                <a16:creationId xmlns:a16="http://schemas.microsoft.com/office/drawing/2014/main" id="{FD57BB42-3B18-E50B-CD21-93B14CD308B4}"/>
              </a:ext>
            </a:extLst>
          </p:cNvPr>
          <p:cNvSpPr txBox="1"/>
          <p:nvPr/>
        </p:nvSpPr>
        <p:spPr>
          <a:xfrm rot="16200000">
            <a:off x="33029" y="5242251"/>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17" name="TextBox 16">
            <a:extLst>
              <a:ext uri="{FF2B5EF4-FFF2-40B4-BE49-F238E27FC236}">
                <a16:creationId xmlns:a16="http://schemas.microsoft.com/office/drawing/2014/main" id="{3A10F1A5-1B40-27F3-9354-F125F4A01313}"/>
              </a:ext>
            </a:extLst>
          </p:cNvPr>
          <p:cNvSpPr txBox="1"/>
          <p:nvPr/>
        </p:nvSpPr>
        <p:spPr>
          <a:xfrm rot="16200000">
            <a:off x="5774800"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8" name="TextBox 17">
            <a:extLst>
              <a:ext uri="{FF2B5EF4-FFF2-40B4-BE49-F238E27FC236}">
                <a16:creationId xmlns:a16="http://schemas.microsoft.com/office/drawing/2014/main" id="{D9B37AFE-AEA7-3084-AE1A-7A1906B7EEC8}"/>
              </a:ext>
            </a:extLst>
          </p:cNvPr>
          <p:cNvSpPr txBox="1"/>
          <p:nvPr/>
        </p:nvSpPr>
        <p:spPr>
          <a:xfrm rot="16200000">
            <a:off x="5774800" y="5242250"/>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Tree>
    <p:extLst>
      <p:ext uri="{BB962C8B-B14F-4D97-AF65-F5344CB8AC3E}">
        <p14:creationId xmlns:p14="http://schemas.microsoft.com/office/powerpoint/2010/main" val="4249585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10901082" cy="73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Maximum Temperature</a:t>
            </a:r>
          </a:p>
        </p:txBody>
      </p:sp>
      <p:pic>
        <p:nvPicPr>
          <p:cNvPr id="5" name="Picture 4">
            <a:extLst>
              <a:ext uri="{FF2B5EF4-FFF2-40B4-BE49-F238E27FC236}">
                <a16:creationId xmlns:a16="http://schemas.microsoft.com/office/drawing/2014/main" id="{FFB1E75E-CD71-507C-BB0A-BE0ACF1CB6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58822" y="1920658"/>
            <a:ext cx="5474356" cy="4064084"/>
          </a:xfrm>
          <a:prstGeom prst="rect">
            <a:avLst/>
          </a:prstGeom>
        </p:spPr>
      </p:pic>
      <p:sp>
        <p:nvSpPr>
          <p:cNvPr id="2" name="Slide Number Placeholder 1">
            <a:extLst>
              <a:ext uri="{FF2B5EF4-FFF2-40B4-BE49-F238E27FC236}">
                <a16:creationId xmlns:a16="http://schemas.microsoft.com/office/drawing/2014/main" id="{0A60EB20-EC01-4148-142A-A90438FBEEA2}"/>
              </a:ext>
            </a:extLst>
          </p:cNvPr>
          <p:cNvSpPr>
            <a:spLocks noGrp="1"/>
          </p:cNvSpPr>
          <p:nvPr>
            <p:ph type="sldNum" sz="quarter" idx="12"/>
          </p:nvPr>
        </p:nvSpPr>
        <p:spPr/>
        <p:txBody>
          <a:bodyPr/>
          <a:lstStyle/>
          <a:p>
            <a:fld id="{EEAD9179-7A6B-4268-BEB2-F3B8EB06115B}" type="slidenum">
              <a:rPr lang="en-US" smtClean="0"/>
              <a:pPr/>
              <a:t>38</a:t>
            </a:fld>
            <a:endParaRPr lang="en-US"/>
          </a:p>
        </p:txBody>
      </p:sp>
      <p:sp>
        <p:nvSpPr>
          <p:cNvPr id="4" name="TextBox 3">
            <a:extLst>
              <a:ext uri="{FF2B5EF4-FFF2-40B4-BE49-F238E27FC236}">
                <a16:creationId xmlns:a16="http://schemas.microsoft.com/office/drawing/2014/main" id="{26A528D3-6165-AA0D-8B5A-5F6EDD064ED7}"/>
              </a:ext>
            </a:extLst>
          </p:cNvPr>
          <p:cNvSpPr txBox="1"/>
          <p:nvPr/>
        </p:nvSpPr>
        <p:spPr>
          <a:xfrm>
            <a:off x="768194" y="1058022"/>
            <a:ext cx="10562672" cy="369332"/>
          </a:xfrm>
          <a:prstGeom prst="rect">
            <a:avLst/>
          </a:prstGeom>
          <a:noFill/>
        </p:spPr>
        <p:txBody>
          <a:bodyPr wrap="square" rtlCol="0">
            <a:spAutoFit/>
          </a:bodyPr>
          <a:lstStyle/>
          <a:p>
            <a:r>
              <a:rPr lang="en-US"/>
              <a:t>Overall, ML model performance is satisfactory for daily </a:t>
            </a:r>
            <a:r>
              <a:rPr lang="en-US" u="sng"/>
              <a:t>Maximum Temperature </a:t>
            </a:r>
            <a:r>
              <a:rPr lang="en-US"/>
              <a:t>datasets in the </a:t>
            </a:r>
            <a:r>
              <a:rPr lang="en-US" u="sng"/>
              <a:t>test set</a:t>
            </a:r>
            <a:r>
              <a:rPr lang="en-US"/>
              <a:t>.</a:t>
            </a:r>
          </a:p>
        </p:txBody>
      </p:sp>
      <p:sp>
        <p:nvSpPr>
          <p:cNvPr id="3" name="TextBox 2">
            <a:extLst>
              <a:ext uri="{FF2B5EF4-FFF2-40B4-BE49-F238E27FC236}">
                <a16:creationId xmlns:a16="http://schemas.microsoft.com/office/drawing/2014/main" id="{CF2E21D2-7571-4C77-B831-1A36117C1D1B}"/>
              </a:ext>
            </a:extLst>
          </p:cNvPr>
          <p:cNvSpPr txBox="1"/>
          <p:nvPr/>
        </p:nvSpPr>
        <p:spPr>
          <a:xfrm>
            <a:off x="3358822" y="6154880"/>
            <a:ext cx="6036906" cy="646331"/>
          </a:xfrm>
          <a:prstGeom prst="rect">
            <a:avLst/>
          </a:prstGeom>
          <a:noFill/>
        </p:spPr>
        <p:txBody>
          <a:bodyPr wrap="square" rtlCol="0">
            <a:spAutoFit/>
          </a:bodyPr>
          <a:lstStyle/>
          <a:p>
            <a:pPr algn="ctr"/>
            <a:r>
              <a:rPr lang="en-US" b="1">
                <a:solidFill>
                  <a:schemeClr val="accent6">
                    <a:lumMod val="75000"/>
                  </a:schemeClr>
                </a:solidFill>
              </a:rPr>
              <a:t>R</a:t>
            </a:r>
            <a:r>
              <a:rPr lang="en-US" b="1" baseline="30000">
                <a:solidFill>
                  <a:schemeClr val="accent6">
                    <a:lumMod val="75000"/>
                  </a:schemeClr>
                </a:solidFill>
              </a:rPr>
              <a:t>2</a:t>
            </a:r>
            <a:r>
              <a:rPr lang="en-US" b="1">
                <a:solidFill>
                  <a:schemeClr val="accent6">
                    <a:lumMod val="75000"/>
                  </a:schemeClr>
                </a:solidFill>
              </a:rPr>
              <a:t> comparison Before and After Applying ML Model </a:t>
            </a:r>
            <a:r>
              <a:rPr lang="en-US" b="1" u="sng">
                <a:solidFill>
                  <a:schemeClr val="accent6">
                    <a:lumMod val="75000"/>
                  </a:schemeClr>
                </a:solidFill>
              </a:rPr>
              <a:t>for all the days in Test Dataset </a:t>
            </a:r>
            <a:endParaRPr lang="en-US" b="1">
              <a:solidFill>
                <a:schemeClr val="accent6">
                  <a:lumMod val="75000"/>
                </a:schemeClr>
              </a:solidFill>
            </a:endParaRPr>
          </a:p>
        </p:txBody>
      </p:sp>
      <p:sp>
        <p:nvSpPr>
          <p:cNvPr id="8" name="TextBox 7">
            <a:extLst>
              <a:ext uri="{FF2B5EF4-FFF2-40B4-BE49-F238E27FC236}">
                <a16:creationId xmlns:a16="http://schemas.microsoft.com/office/drawing/2014/main" id="{B258A952-5F02-72D1-9663-1399AC6760A4}"/>
              </a:ext>
            </a:extLst>
          </p:cNvPr>
          <p:cNvSpPr txBox="1"/>
          <p:nvPr/>
        </p:nvSpPr>
        <p:spPr>
          <a:xfrm rot="16200000">
            <a:off x="3210443" y="3621839"/>
            <a:ext cx="415265" cy="338554"/>
          </a:xfrm>
          <a:prstGeom prst="rect">
            <a:avLst/>
          </a:prstGeom>
          <a:solidFill>
            <a:schemeClr val="bg1"/>
          </a:solidFill>
        </p:spPr>
        <p:txBody>
          <a:bodyPr wrap="square" rtlCol="0">
            <a:spAutoFit/>
          </a:bodyPr>
          <a:lstStyle/>
          <a:p>
            <a:pPr algn="r"/>
            <a:r>
              <a:rPr lang="en-US" sz="1600"/>
              <a:t>R</a:t>
            </a:r>
            <a:r>
              <a:rPr lang="en-US" sz="1600" baseline="30000"/>
              <a:t>2</a:t>
            </a:r>
            <a:endParaRPr lang="en-US" sz="1600"/>
          </a:p>
        </p:txBody>
      </p:sp>
    </p:spTree>
    <p:extLst>
      <p:ext uri="{BB962C8B-B14F-4D97-AF65-F5344CB8AC3E}">
        <p14:creationId xmlns:p14="http://schemas.microsoft.com/office/powerpoint/2010/main" val="21484133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376939" y="216649"/>
            <a:ext cx="11769816" cy="11913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a:solidFill>
                  <a:schemeClr val="accent1">
                    <a:lumMod val="50000"/>
                  </a:schemeClr>
                </a:solidFill>
                <a:latin typeface="Arial"/>
                <a:cs typeface="Calibri Light"/>
              </a:rPr>
              <a:t>Mapping Source and Modeled Data : Maximum Temperature  </a:t>
            </a:r>
          </a:p>
        </p:txBody>
      </p:sp>
      <p:pic>
        <p:nvPicPr>
          <p:cNvPr id="3" name="Picture 2">
            <a:extLst>
              <a:ext uri="{FF2B5EF4-FFF2-40B4-BE49-F238E27FC236}">
                <a16:creationId xmlns:a16="http://schemas.microsoft.com/office/drawing/2014/main" id="{16BBEA49-B7C7-2619-44DA-70CDEE7990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42014" y="2554531"/>
            <a:ext cx="7507972" cy="3165598"/>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smtClean="0"/>
              <a:t>39</a:t>
            </a:fld>
            <a:endParaRPr lang="en-US" noProof="0"/>
          </a:p>
        </p:txBody>
      </p:sp>
      <p:sp>
        <p:nvSpPr>
          <p:cNvPr id="4" name="TextBox 3">
            <a:extLst>
              <a:ext uri="{FF2B5EF4-FFF2-40B4-BE49-F238E27FC236}">
                <a16:creationId xmlns:a16="http://schemas.microsoft.com/office/drawing/2014/main" id="{8D2E76D9-60D8-0BDB-2B6A-146386004ACC}"/>
              </a:ext>
            </a:extLst>
          </p:cNvPr>
          <p:cNvSpPr txBox="1"/>
          <p:nvPr/>
        </p:nvSpPr>
        <p:spPr>
          <a:xfrm>
            <a:off x="1001095" y="1363178"/>
            <a:ext cx="10562672" cy="646331"/>
          </a:xfrm>
          <a:prstGeom prst="rect">
            <a:avLst/>
          </a:prstGeom>
          <a:noFill/>
        </p:spPr>
        <p:txBody>
          <a:bodyPr wrap="square" rtlCol="0">
            <a:spAutoFit/>
          </a:bodyPr>
          <a:lstStyle/>
          <a:p>
            <a:r>
              <a:rPr lang="en-US"/>
              <a:t>Model interpolated high-resolution </a:t>
            </a:r>
            <a:r>
              <a:rPr lang="en-US" u="sng"/>
              <a:t>Maximum Temperature</a:t>
            </a:r>
            <a:r>
              <a:rPr lang="en-US" b="1"/>
              <a:t> </a:t>
            </a:r>
            <a:r>
              <a:rPr lang="en-US"/>
              <a:t>data has good spatial agreement with observed (TWC) high-resolution data.  </a:t>
            </a:r>
          </a:p>
        </p:txBody>
      </p:sp>
    </p:spTree>
    <p:extLst>
      <p:ext uri="{BB962C8B-B14F-4D97-AF65-F5344CB8AC3E}">
        <p14:creationId xmlns:p14="http://schemas.microsoft.com/office/powerpoint/2010/main" val="987091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90209" y="2652869"/>
            <a:ext cx="9611581" cy="7763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600" b="1">
                <a:solidFill>
                  <a:srgbClr val="10384F"/>
                </a:solidFill>
                <a:latin typeface="Arial"/>
                <a:cs typeface="Arial"/>
              </a:rPr>
              <a:t>1. Motivations: Business and Technical </a:t>
            </a:r>
            <a:endParaRPr lang="en-US" sz="3600" b="1">
              <a:solidFill>
                <a:srgbClr val="10384F"/>
              </a:solidFill>
              <a:latin typeface="Arial"/>
              <a:cs typeface="Calibri Light"/>
            </a:endParaRPr>
          </a:p>
        </p:txBody>
      </p:sp>
      <p:sp>
        <p:nvSpPr>
          <p:cNvPr id="2" name="Slide Number Placeholder 1">
            <a:extLst>
              <a:ext uri="{FF2B5EF4-FFF2-40B4-BE49-F238E27FC236}">
                <a16:creationId xmlns:a16="http://schemas.microsoft.com/office/drawing/2014/main" id="{019A87F5-EE45-8C3C-1DEA-E953C11457DE}"/>
              </a:ext>
            </a:extLst>
          </p:cNvPr>
          <p:cNvSpPr>
            <a:spLocks noGrp="1"/>
          </p:cNvSpPr>
          <p:nvPr>
            <p:ph type="sldNum" sz="quarter" idx="12"/>
          </p:nvPr>
        </p:nvSpPr>
        <p:spPr/>
        <p:txBody>
          <a:bodyPr/>
          <a:lstStyle/>
          <a:p>
            <a:fld id="{EEAD9179-7A6B-4268-BEB2-F3B8EB06115B}" type="slidenum">
              <a:rPr lang="en-US" noProof="0" smtClean="0"/>
              <a:t>4</a:t>
            </a:fld>
            <a:endParaRPr lang="en-US" noProof="0"/>
          </a:p>
        </p:txBody>
      </p:sp>
      <p:cxnSp>
        <p:nvCxnSpPr>
          <p:cNvPr id="3" name="Straight Connector 2">
            <a:extLst>
              <a:ext uri="{FF2B5EF4-FFF2-40B4-BE49-F238E27FC236}">
                <a16:creationId xmlns:a16="http://schemas.microsoft.com/office/drawing/2014/main" id="{7273D0A7-41A2-E613-710D-6DA59FD2EF65}"/>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70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11412392" cy="865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chemeClr val="accent1">
                    <a:lumMod val="50000"/>
                  </a:schemeClr>
                </a:solidFill>
                <a:latin typeface="Arial"/>
                <a:cs typeface="Calibri Light"/>
              </a:rPr>
              <a:t>ML/DL Model Results Comparison : Maximum Temperature</a:t>
            </a:r>
          </a:p>
        </p:txBody>
      </p:sp>
      <p:sp>
        <p:nvSpPr>
          <p:cNvPr id="10" name="TextBox 9">
            <a:extLst>
              <a:ext uri="{FF2B5EF4-FFF2-40B4-BE49-F238E27FC236}">
                <a16:creationId xmlns:a16="http://schemas.microsoft.com/office/drawing/2014/main" id="{DDD763E9-CE6D-7E6C-735D-E01DF9793F16}"/>
              </a:ext>
            </a:extLst>
          </p:cNvPr>
          <p:cNvSpPr txBox="1"/>
          <p:nvPr/>
        </p:nvSpPr>
        <p:spPr>
          <a:xfrm>
            <a:off x="274049" y="1288838"/>
            <a:ext cx="1689353" cy="1200329"/>
          </a:xfrm>
          <a:prstGeom prst="rect">
            <a:avLst/>
          </a:prstGeom>
          <a:solidFill>
            <a:schemeClr val="bg1">
              <a:lumMod val="85000"/>
            </a:schemeClr>
          </a:solidFill>
        </p:spPr>
        <p:txBody>
          <a:bodyPr wrap="square" rtlCol="0">
            <a:spAutoFit/>
          </a:bodyPr>
          <a:lstStyle/>
          <a:p>
            <a:r>
              <a:rPr lang="en-US" b="1"/>
              <a:t>ML :</a:t>
            </a:r>
            <a:r>
              <a:rPr lang="en-US"/>
              <a:t> </a:t>
            </a:r>
          </a:p>
          <a:p>
            <a:r>
              <a:rPr lang="en-US"/>
              <a:t>Gradient-Boosting Decision Tree</a:t>
            </a:r>
          </a:p>
        </p:txBody>
      </p:sp>
      <p:sp>
        <p:nvSpPr>
          <p:cNvPr id="20" name="TextBox 19">
            <a:extLst>
              <a:ext uri="{FF2B5EF4-FFF2-40B4-BE49-F238E27FC236}">
                <a16:creationId xmlns:a16="http://schemas.microsoft.com/office/drawing/2014/main" id="{040BCA99-2FFF-618A-ADD3-A00006589972}"/>
              </a:ext>
            </a:extLst>
          </p:cNvPr>
          <p:cNvSpPr txBox="1"/>
          <p:nvPr/>
        </p:nvSpPr>
        <p:spPr>
          <a:xfrm>
            <a:off x="3034116" y="3421751"/>
            <a:ext cx="3119211" cy="338554"/>
          </a:xfrm>
          <a:prstGeom prst="rect">
            <a:avLst/>
          </a:prstGeom>
          <a:noFill/>
        </p:spPr>
        <p:txBody>
          <a:bodyPr wrap="square" rtlCol="0">
            <a:spAutoFit/>
          </a:bodyPr>
          <a:lstStyle/>
          <a:p>
            <a:pPr algn="ctr"/>
            <a:r>
              <a:rPr lang="en-US" sz="1600"/>
              <a:t>Performance </a:t>
            </a:r>
            <a:r>
              <a:rPr lang="en-US" sz="1600">
                <a:solidFill>
                  <a:srgbClr val="7030A0"/>
                </a:solidFill>
              </a:rPr>
              <a:t>train</a:t>
            </a:r>
            <a:r>
              <a:rPr lang="en-US" sz="1600"/>
              <a:t> set</a:t>
            </a:r>
          </a:p>
        </p:txBody>
      </p:sp>
      <p:pic>
        <p:nvPicPr>
          <p:cNvPr id="2" name="Picture 1">
            <a:extLst>
              <a:ext uri="{FF2B5EF4-FFF2-40B4-BE49-F238E27FC236}">
                <a16:creationId xmlns:a16="http://schemas.microsoft.com/office/drawing/2014/main" id="{C4F21C2E-6869-30CB-DB14-9CB4794C17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771968" y="1124636"/>
            <a:ext cx="3119210" cy="2347364"/>
          </a:xfrm>
          <a:prstGeom prst="rect">
            <a:avLst/>
          </a:prstGeom>
        </p:spPr>
      </p:pic>
      <p:sp>
        <p:nvSpPr>
          <p:cNvPr id="7" name="TextBox 6">
            <a:extLst>
              <a:ext uri="{FF2B5EF4-FFF2-40B4-BE49-F238E27FC236}">
                <a16:creationId xmlns:a16="http://schemas.microsoft.com/office/drawing/2014/main" id="{B641E756-718B-0BB8-7309-6CDF315EBB46}"/>
              </a:ext>
            </a:extLst>
          </p:cNvPr>
          <p:cNvSpPr txBox="1"/>
          <p:nvPr/>
        </p:nvSpPr>
        <p:spPr>
          <a:xfrm>
            <a:off x="274049" y="4170313"/>
            <a:ext cx="1534389" cy="1200329"/>
          </a:xfrm>
          <a:prstGeom prst="rect">
            <a:avLst/>
          </a:prstGeom>
          <a:solidFill>
            <a:schemeClr val="accent1">
              <a:lumMod val="20000"/>
              <a:lumOff val="80000"/>
            </a:schemeClr>
          </a:solidFill>
        </p:spPr>
        <p:txBody>
          <a:bodyPr wrap="square">
            <a:spAutoFit/>
          </a:bodyPr>
          <a:lstStyle/>
          <a:p>
            <a:r>
              <a:rPr lang="en-US" b="1"/>
              <a:t>DL :</a:t>
            </a:r>
            <a:r>
              <a:rPr lang="en-US"/>
              <a:t> </a:t>
            </a:r>
          </a:p>
          <a:p>
            <a:r>
              <a:rPr lang="en-US"/>
              <a:t>Multi-Layered </a:t>
            </a:r>
            <a:r>
              <a:rPr lang="en-US" err="1"/>
              <a:t>Perceptrons</a:t>
            </a:r>
            <a:r>
              <a:rPr lang="en-US"/>
              <a:t> (MLP)</a:t>
            </a:r>
          </a:p>
        </p:txBody>
      </p:sp>
      <p:sp>
        <p:nvSpPr>
          <p:cNvPr id="11" name="TextBox 10">
            <a:extLst>
              <a:ext uri="{FF2B5EF4-FFF2-40B4-BE49-F238E27FC236}">
                <a16:creationId xmlns:a16="http://schemas.microsoft.com/office/drawing/2014/main" id="{1E408B26-D81E-9B77-1C88-EEEC3785D485}"/>
              </a:ext>
            </a:extLst>
          </p:cNvPr>
          <p:cNvSpPr txBox="1"/>
          <p:nvPr/>
        </p:nvSpPr>
        <p:spPr>
          <a:xfrm>
            <a:off x="6847472" y="3421751"/>
            <a:ext cx="3119211" cy="338554"/>
          </a:xfrm>
          <a:prstGeom prst="rect">
            <a:avLst/>
          </a:prstGeom>
          <a:noFill/>
        </p:spPr>
        <p:txBody>
          <a:bodyPr wrap="square" rtlCol="0">
            <a:spAutoFit/>
          </a:bodyPr>
          <a:lstStyle/>
          <a:p>
            <a:pPr algn="ctr"/>
            <a:r>
              <a:rPr lang="en-US" sz="1600"/>
              <a:t>Performance </a:t>
            </a:r>
            <a:r>
              <a:rPr lang="en-US" sz="1600">
                <a:solidFill>
                  <a:schemeClr val="accent2">
                    <a:lumMod val="75000"/>
                  </a:schemeClr>
                </a:solidFill>
              </a:rPr>
              <a:t>test</a:t>
            </a:r>
            <a:r>
              <a:rPr lang="en-US" sz="1600"/>
              <a:t> set</a:t>
            </a:r>
          </a:p>
        </p:txBody>
      </p:sp>
      <p:pic>
        <p:nvPicPr>
          <p:cNvPr id="12" name="Picture 11">
            <a:extLst>
              <a:ext uri="{FF2B5EF4-FFF2-40B4-BE49-F238E27FC236}">
                <a16:creationId xmlns:a16="http://schemas.microsoft.com/office/drawing/2014/main" id="{85ADD9A6-CD7A-C653-544B-9C3419417AF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94220" y="3933446"/>
            <a:ext cx="3126624" cy="2408036"/>
          </a:xfrm>
          <a:prstGeom prst="rect">
            <a:avLst/>
          </a:prstGeom>
        </p:spPr>
      </p:pic>
      <p:sp>
        <p:nvSpPr>
          <p:cNvPr id="13" name="TextBox 12">
            <a:extLst>
              <a:ext uri="{FF2B5EF4-FFF2-40B4-BE49-F238E27FC236}">
                <a16:creationId xmlns:a16="http://schemas.microsoft.com/office/drawing/2014/main" id="{741424E7-716E-A758-EA86-DD17483D72ED}"/>
              </a:ext>
            </a:extLst>
          </p:cNvPr>
          <p:cNvSpPr txBox="1"/>
          <p:nvPr/>
        </p:nvSpPr>
        <p:spPr>
          <a:xfrm>
            <a:off x="5259369" y="6364275"/>
            <a:ext cx="3119211" cy="338554"/>
          </a:xfrm>
          <a:prstGeom prst="rect">
            <a:avLst/>
          </a:prstGeom>
          <a:noFill/>
        </p:spPr>
        <p:txBody>
          <a:bodyPr wrap="square" rtlCol="0">
            <a:spAutoFit/>
          </a:bodyPr>
          <a:lstStyle/>
          <a:p>
            <a:pPr algn="ctr"/>
            <a:r>
              <a:rPr lang="en-US" sz="1600"/>
              <a:t>Performance </a:t>
            </a:r>
            <a:r>
              <a:rPr lang="en-US" sz="1600">
                <a:solidFill>
                  <a:srgbClr val="7030A0"/>
                </a:solidFill>
              </a:rPr>
              <a:t>train</a:t>
            </a:r>
            <a:r>
              <a:rPr lang="en-US" sz="1600"/>
              <a:t> set</a:t>
            </a:r>
          </a:p>
        </p:txBody>
      </p:sp>
      <p:pic>
        <p:nvPicPr>
          <p:cNvPr id="14" name="Picture 13">
            <a:extLst>
              <a:ext uri="{FF2B5EF4-FFF2-40B4-BE49-F238E27FC236}">
                <a16:creationId xmlns:a16="http://schemas.microsoft.com/office/drawing/2014/main" id="{13C3F13F-F854-DEB8-9795-32B563C93F6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70124" y="3958250"/>
            <a:ext cx="2930169" cy="2358429"/>
          </a:xfrm>
          <a:prstGeom prst="rect">
            <a:avLst/>
          </a:prstGeom>
        </p:spPr>
      </p:pic>
      <p:sp>
        <p:nvSpPr>
          <p:cNvPr id="15" name="TextBox 14">
            <a:extLst>
              <a:ext uri="{FF2B5EF4-FFF2-40B4-BE49-F238E27FC236}">
                <a16:creationId xmlns:a16="http://schemas.microsoft.com/office/drawing/2014/main" id="{ADC2C1C1-916A-E593-BB80-10BC7114DD29}"/>
              </a:ext>
            </a:extLst>
          </p:cNvPr>
          <p:cNvSpPr txBox="1"/>
          <p:nvPr/>
        </p:nvSpPr>
        <p:spPr>
          <a:xfrm>
            <a:off x="8695853" y="6364275"/>
            <a:ext cx="3119211" cy="338554"/>
          </a:xfrm>
          <a:prstGeom prst="rect">
            <a:avLst/>
          </a:prstGeom>
          <a:noFill/>
        </p:spPr>
        <p:txBody>
          <a:bodyPr wrap="square" rtlCol="0">
            <a:spAutoFit/>
          </a:bodyPr>
          <a:lstStyle/>
          <a:p>
            <a:pPr algn="ctr"/>
            <a:r>
              <a:rPr lang="en-US" sz="1600"/>
              <a:t>Performance </a:t>
            </a:r>
            <a:r>
              <a:rPr lang="en-US" sz="1600">
                <a:solidFill>
                  <a:schemeClr val="accent2">
                    <a:lumMod val="75000"/>
                  </a:schemeClr>
                </a:solidFill>
              </a:rPr>
              <a:t>test</a:t>
            </a:r>
            <a:r>
              <a:rPr lang="en-US" sz="1600"/>
              <a:t> set</a:t>
            </a:r>
          </a:p>
        </p:txBody>
      </p:sp>
      <p:pic>
        <p:nvPicPr>
          <p:cNvPr id="16" name="Picture 15">
            <a:extLst>
              <a:ext uri="{FF2B5EF4-FFF2-40B4-BE49-F238E27FC236}">
                <a16:creationId xmlns:a16="http://schemas.microsoft.com/office/drawing/2014/main" id="{BD2B7106-6C58-68BD-9780-79D3CE0C0B4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808439" y="4005530"/>
            <a:ext cx="3126624" cy="2370899"/>
          </a:xfrm>
          <a:prstGeom prst="rect">
            <a:avLst/>
          </a:prstGeom>
        </p:spPr>
      </p:pic>
      <p:sp>
        <p:nvSpPr>
          <p:cNvPr id="17" name="TextBox 16">
            <a:extLst>
              <a:ext uri="{FF2B5EF4-FFF2-40B4-BE49-F238E27FC236}">
                <a16:creationId xmlns:a16="http://schemas.microsoft.com/office/drawing/2014/main" id="{471AA7B1-73DB-7CB8-74D1-D53FFC8BC5F9}"/>
              </a:ext>
            </a:extLst>
          </p:cNvPr>
          <p:cNvSpPr txBox="1"/>
          <p:nvPr/>
        </p:nvSpPr>
        <p:spPr>
          <a:xfrm>
            <a:off x="1815852" y="6364275"/>
            <a:ext cx="3119211" cy="338554"/>
          </a:xfrm>
          <a:prstGeom prst="rect">
            <a:avLst/>
          </a:prstGeom>
          <a:noFill/>
        </p:spPr>
        <p:txBody>
          <a:bodyPr wrap="square" rtlCol="0">
            <a:spAutoFit/>
          </a:bodyPr>
          <a:lstStyle/>
          <a:p>
            <a:pPr algn="ctr"/>
            <a:r>
              <a:rPr lang="en-US" sz="1600"/>
              <a:t>Learning Curve: MLP training</a:t>
            </a:r>
          </a:p>
        </p:txBody>
      </p:sp>
      <p:cxnSp>
        <p:nvCxnSpPr>
          <p:cNvPr id="22" name="Straight Connector 21">
            <a:extLst>
              <a:ext uri="{FF2B5EF4-FFF2-40B4-BE49-F238E27FC236}">
                <a16:creationId xmlns:a16="http://schemas.microsoft.com/office/drawing/2014/main" id="{1B0827BE-D4E1-47BF-4839-35FC96A07406}"/>
              </a:ext>
            </a:extLst>
          </p:cNvPr>
          <p:cNvCxnSpPr/>
          <p:nvPr/>
        </p:nvCxnSpPr>
        <p:spPr>
          <a:xfrm>
            <a:off x="201336" y="3833769"/>
            <a:ext cx="11752976" cy="0"/>
          </a:xfrm>
          <a:prstGeom prst="line">
            <a:avLst/>
          </a:prstGeom>
          <a:ln w="9525"/>
        </p:spPr>
        <p:style>
          <a:lnRef idx="1">
            <a:schemeClr val="dk1"/>
          </a:lnRef>
          <a:fillRef idx="0">
            <a:schemeClr val="dk1"/>
          </a:fillRef>
          <a:effectRef idx="0">
            <a:schemeClr val="dk1"/>
          </a:effectRef>
          <a:fontRef idx="minor">
            <a:schemeClr val="tx1"/>
          </a:fontRef>
        </p:style>
      </p:cxnSp>
      <p:pic>
        <p:nvPicPr>
          <p:cNvPr id="23" name="Picture 22">
            <a:extLst>
              <a:ext uri="{FF2B5EF4-FFF2-40B4-BE49-F238E27FC236}">
                <a16:creationId xmlns:a16="http://schemas.microsoft.com/office/drawing/2014/main" id="{2E82135A-B0F3-5B97-131F-16F643ACC49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964713" y="1119104"/>
            <a:ext cx="3107008" cy="2358429"/>
          </a:xfrm>
          <a:prstGeom prst="rect">
            <a:avLst/>
          </a:prstGeom>
        </p:spPr>
      </p:pic>
      <p:sp>
        <p:nvSpPr>
          <p:cNvPr id="3" name="Slide Number Placeholder 2">
            <a:extLst>
              <a:ext uri="{FF2B5EF4-FFF2-40B4-BE49-F238E27FC236}">
                <a16:creationId xmlns:a16="http://schemas.microsoft.com/office/drawing/2014/main" id="{B32175AB-1DB3-5446-7E5C-A305118EF0B3}"/>
              </a:ext>
            </a:extLst>
          </p:cNvPr>
          <p:cNvSpPr>
            <a:spLocks noGrp="1"/>
          </p:cNvSpPr>
          <p:nvPr>
            <p:ph type="sldNum" sz="quarter" idx="12"/>
          </p:nvPr>
        </p:nvSpPr>
        <p:spPr/>
        <p:txBody>
          <a:bodyPr/>
          <a:lstStyle/>
          <a:p>
            <a:fld id="{EEAD9179-7A6B-4268-BEB2-F3B8EB06115B}" type="slidenum">
              <a:rPr lang="en-US" noProof="0" smtClean="0"/>
              <a:t>40</a:t>
            </a:fld>
            <a:endParaRPr lang="en-US" noProof="0"/>
          </a:p>
        </p:txBody>
      </p:sp>
    </p:spTree>
    <p:extLst>
      <p:ext uri="{BB962C8B-B14F-4D97-AF65-F5344CB8AC3E}">
        <p14:creationId xmlns:p14="http://schemas.microsoft.com/office/powerpoint/2010/main" val="147336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50" fill="hold"/>
                                        <p:tgtEl>
                                          <p:spTgt spid="12"/>
                                        </p:tgtEl>
                                        <p:attrNameLst>
                                          <p:attrName>ppt_x</p:attrName>
                                        </p:attrNameLst>
                                      </p:cBhvr>
                                      <p:tavLst>
                                        <p:tav tm="0">
                                          <p:val>
                                            <p:strVal val="#ppt_x"/>
                                          </p:val>
                                        </p:tav>
                                        <p:tav tm="100000">
                                          <p:val>
                                            <p:strVal val="#ppt_x"/>
                                          </p:val>
                                        </p:tav>
                                      </p:tavLst>
                                    </p:anim>
                                    <p:anim calcmode="lin" valueType="num">
                                      <p:cBhvr additive="base">
                                        <p:cTn id="12" dur="75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750" fill="hold"/>
                                        <p:tgtEl>
                                          <p:spTgt spid="13"/>
                                        </p:tgtEl>
                                        <p:attrNameLst>
                                          <p:attrName>ppt_x</p:attrName>
                                        </p:attrNameLst>
                                      </p:cBhvr>
                                      <p:tavLst>
                                        <p:tav tm="0">
                                          <p:val>
                                            <p:strVal val="#ppt_x"/>
                                          </p:val>
                                        </p:tav>
                                        <p:tav tm="100000">
                                          <p:val>
                                            <p:strVal val="#ppt_x"/>
                                          </p:val>
                                        </p:tav>
                                      </p:tavLst>
                                    </p:anim>
                                    <p:anim calcmode="lin" valueType="num">
                                      <p:cBhvr additive="base">
                                        <p:cTn id="16" dur="75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ppt_x"/>
                                          </p:val>
                                        </p:tav>
                                        <p:tav tm="100000">
                                          <p:val>
                                            <p:strVal val="#ppt_x"/>
                                          </p:val>
                                        </p:tav>
                                      </p:tavLst>
                                    </p:anim>
                                    <p:anim calcmode="lin" valueType="num">
                                      <p:cBhvr additive="base">
                                        <p:cTn id="20" dur="75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750" fill="hold"/>
                                        <p:tgtEl>
                                          <p:spTgt spid="15"/>
                                        </p:tgtEl>
                                        <p:attrNameLst>
                                          <p:attrName>ppt_x</p:attrName>
                                        </p:attrNameLst>
                                      </p:cBhvr>
                                      <p:tavLst>
                                        <p:tav tm="0">
                                          <p:val>
                                            <p:strVal val="#ppt_x"/>
                                          </p:val>
                                        </p:tav>
                                        <p:tav tm="100000">
                                          <p:val>
                                            <p:strVal val="#ppt_x"/>
                                          </p:val>
                                        </p:tav>
                                      </p:tavLst>
                                    </p:anim>
                                    <p:anim calcmode="lin" valueType="num">
                                      <p:cBhvr additive="base">
                                        <p:cTn id="24" dur="750" fill="hold"/>
                                        <p:tgtEl>
                                          <p:spTgt spid="1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750" fill="hold"/>
                                        <p:tgtEl>
                                          <p:spTgt spid="16"/>
                                        </p:tgtEl>
                                        <p:attrNameLst>
                                          <p:attrName>ppt_x</p:attrName>
                                        </p:attrNameLst>
                                      </p:cBhvr>
                                      <p:tavLst>
                                        <p:tav tm="0">
                                          <p:val>
                                            <p:strVal val="#ppt_x"/>
                                          </p:val>
                                        </p:tav>
                                        <p:tav tm="100000">
                                          <p:val>
                                            <p:strVal val="#ppt_x"/>
                                          </p:val>
                                        </p:tav>
                                      </p:tavLst>
                                    </p:anim>
                                    <p:anim calcmode="lin" valueType="num">
                                      <p:cBhvr additive="base">
                                        <p:cTn id="28" dur="750" fill="hold"/>
                                        <p:tgtEl>
                                          <p:spTgt spid="1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750" fill="hold"/>
                                        <p:tgtEl>
                                          <p:spTgt spid="17"/>
                                        </p:tgtEl>
                                        <p:attrNameLst>
                                          <p:attrName>ppt_x</p:attrName>
                                        </p:attrNameLst>
                                      </p:cBhvr>
                                      <p:tavLst>
                                        <p:tav tm="0">
                                          <p:val>
                                            <p:strVal val="#ppt_x"/>
                                          </p:val>
                                        </p:tav>
                                        <p:tav tm="100000">
                                          <p:val>
                                            <p:strVal val="#ppt_x"/>
                                          </p:val>
                                        </p:tav>
                                      </p:tavLst>
                                    </p:anim>
                                    <p:anim calcmode="lin" valueType="num">
                                      <p:cBhvr additive="base">
                                        <p:cTn id="32" dur="750" fill="hold"/>
                                        <p:tgtEl>
                                          <p:spTgt spid="17"/>
                                        </p:tgtEl>
                                        <p:attrNameLst>
                                          <p:attrName>ppt_y</p:attrName>
                                        </p:attrNameLst>
                                      </p:cBhvr>
                                      <p:tavLst>
                                        <p:tav tm="0">
                                          <p:val>
                                            <p:strVal val="1+#ppt_h/2"/>
                                          </p:val>
                                        </p:tav>
                                        <p:tav tm="100000">
                                          <p:val>
                                            <p:strVal val="#ppt_y"/>
                                          </p:val>
                                        </p:tav>
                                      </p:tavLst>
                                    </p:anim>
                                  </p:childTnLst>
                                </p:cTn>
                              </p:par>
                              <p:par>
                                <p:cTn id="33" presetID="16" presetClass="entr" presetSubtype="21"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barn(inVertical)">
                                      <p:cBhvr>
                                        <p:cTn id="3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p:bldP spid="15" grpId="0"/>
      <p:bldP spid="1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ML Model Results : Total Precipitation</a:t>
            </a:r>
          </a:p>
        </p:txBody>
      </p:sp>
      <p:pic>
        <p:nvPicPr>
          <p:cNvPr id="3" name="Picture 2">
            <a:extLst>
              <a:ext uri="{FF2B5EF4-FFF2-40B4-BE49-F238E27FC236}">
                <a16:creationId xmlns:a16="http://schemas.microsoft.com/office/drawing/2014/main" id="{72FDB37B-E1DB-C812-CAB0-7BE1829D14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80886" y="3247603"/>
            <a:ext cx="3506025" cy="2639270"/>
          </a:xfrm>
          <a:prstGeom prst="rect">
            <a:avLst/>
          </a:prstGeom>
        </p:spPr>
      </p:pic>
      <p:pic>
        <p:nvPicPr>
          <p:cNvPr id="6" name="Picture 5">
            <a:extLst>
              <a:ext uri="{FF2B5EF4-FFF2-40B4-BE49-F238E27FC236}">
                <a16:creationId xmlns:a16="http://schemas.microsoft.com/office/drawing/2014/main" id="{B09638A6-6111-A6EC-914F-C98B17862DE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47960" y="3280910"/>
            <a:ext cx="3550135" cy="2564951"/>
          </a:xfrm>
          <a:prstGeom prst="rect">
            <a:avLst/>
          </a:prstGeom>
        </p:spPr>
      </p:pic>
      <p:sp>
        <p:nvSpPr>
          <p:cNvPr id="10" name="TextBox 9">
            <a:extLst>
              <a:ext uri="{FF2B5EF4-FFF2-40B4-BE49-F238E27FC236}">
                <a16:creationId xmlns:a16="http://schemas.microsoft.com/office/drawing/2014/main" id="{DDD763E9-CE6D-7E6C-735D-E01DF9793F16}"/>
              </a:ext>
            </a:extLst>
          </p:cNvPr>
          <p:cNvSpPr txBox="1"/>
          <p:nvPr/>
        </p:nvSpPr>
        <p:spPr>
          <a:xfrm>
            <a:off x="890630" y="1244459"/>
            <a:ext cx="10610676" cy="1946943"/>
          </a:xfrm>
          <a:prstGeom prst="rect">
            <a:avLst/>
          </a:prstGeom>
          <a:noFill/>
        </p:spPr>
        <p:txBody>
          <a:bodyPr wrap="square" rtlCol="0">
            <a:spAutoFit/>
          </a:bodyPr>
          <a:lstStyle/>
          <a:p>
            <a:pPr marL="285750" indent="-285750">
              <a:lnSpc>
                <a:spcPct val="150000"/>
              </a:lnSpc>
              <a:buFont typeface="Wingdings" panose="05000000000000000000" pitchFamily="2" charset="2"/>
              <a:buChar char="q"/>
            </a:pPr>
            <a:r>
              <a:rPr lang="en-US" sz="1600" b="1"/>
              <a:t>Training data: </a:t>
            </a:r>
            <a:r>
              <a:rPr lang="en-US" sz="1600"/>
              <a:t>TWC High Res. (8km) Precipitation data.</a:t>
            </a:r>
          </a:p>
          <a:p>
            <a:pPr marL="285750" indent="-285750">
              <a:lnSpc>
                <a:spcPct val="150000"/>
              </a:lnSpc>
              <a:buFont typeface="Wingdings" panose="05000000000000000000" pitchFamily="2" charset="2"/>
              <a:buChar char="q"/>
            </a:pPr>
            <a:r>
              <a:rPr lang="en-US" sz="1600" b="1"/>
              <a:t>Input Variables: </a:t>
            </a:r>
            <a:r>
              <a:rPr lang="en-US" sz="1600" u="sng"/>
              <a:t>model interpolated high resolution datasets (min/max/avg temperature, avg relative humidity, avg wind speed)</a:t>
            </a:r>
            <a:r>
              <a:rPr lang="en-US" sz="1600"/>
              <a:t> (resampled to 8km), resampled total precipitation (ERA5), elevation, </a:t>
            </a:r>
            <a:r>
              <a:rPr lang="en-US" sz="1600" err="1"/>
              <a:t>lat</a:t>
            </a:r>
            <a:r>
              <a:rPr lang="en-US" sz="1600"/>
              <a:t>/</a:t>
            </a:r>
            <a:r>
              <a:rPr lang="en-US" sz="1600" err="1"/>
              <a:t>lon</a:t>
            </a:r>
            <a:r>
              <a:rPr lang="en-US" sz="1600"/>
              <a:t>, month.</a:t>
            </a:r>
          </a:p>
          <a:p>
            <a:pPr marL="285750" indent="-285750">
              <a:lnSpc>
                <a:spcPct val="150000"/>
              </a:lnSpc>
              <a:buFont typeface="Wingdings" panose="05000000000000000000" pitchFamily="2" charset="2"/>
              <a:buChar char="q"/>
            </a:pPr>
            <a:r>
              <a:rPr lang="en-US" b="1"/>
              <a:t>GOSS (</a:t>
            </a:r>
            <a:r>
              <a:rPr lang="en-US" b="1" err="1"/>
              <a:t>LightGBM</a:t>
            </a:r>
            <a:r>
              <a:rPr lang="en-US" b="1"/>
              <a:t>)</a:t>
            </a:r>
            <a:r>
              <a:rPr lang="en-US"/>
              <a:t> </a:t>
            </a:r>
            <a:r>
              <a:rPr lang="en-US" sz="1600"/>
              <a:t>overfits the model.</a:t>
            </a:r>
          </a:p>
          <a:p>
            <a:pPr marL="285750" indent="-285750">
              <a:lnSpc>
                <a:spcPct val="150000"/>
              </a:lnSpc>
              <a:buFont typeface="Wingdings" panose="05000000000000000000" pitchFamily="2" charset="2"/>
              <a:buChar char="q"/>
            </a:pPr>
            <a:r>
              <a:rPr lang="en-US" sz="1600"/>
              <a:t>Hyperparameter tuning failed to remove overfitting. </a:t>
            </a:r>
          </a:p>
        </p:txBody>
      </p:sp>
      <p:pic>
        <p:nvPicPr>
          <p:cNvPr id="4" name="Picture 3">
            <a:extLst>
              <a:ext uri="{FF2B5EF4-FFF2-40B4-BE49-F238E27FC236}">
                <a16:creationId xmlns:a16="http://schemas.microsoft.com/office/drawing/2014/main" id="{FD3D3A44-DBBD-C5CF-FBF1-D8AF7E66C4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29532" y="3256289"/>
            <a:ext cx="3550031" cy="2614193"/>
          </a:xfrm>
          <a:prstGeom prst="rect">
            <a:avLst/>
          </a:prstGeom>
        </p:spPr>
      </p:pic>
      <p:sp>
        <p:nvSpPr>
          <p:cNvPr id="2" name="Slide Number Placeholder 1">
            <a:extLst>
              <a:ext uri="{FF2B5EF4-FFF2-40B4-BE49-F238E27FC236}">
                <a16:creationId xmlns:a16="http://schemas.microsoft.com/office/drawing/2014/main" id="{273AD75B-B440-73BF-172F-0AFD207882D0}"/>
              </a:ext>
            </a:extLst>
          </p:cNvPr>
          <p:cNvSpPr>
            <a:spLocks noGrp="1"/>
          </p:cNvSpPr>
          <p:nvPr>
            <p:ph type="sldNum" sz="quarter" idx="12"/>
          </p:nvPr>
        </p:nvSpPr>
        <p:spPr/>
        <p:txBody>
          <a:bodyPr/>
          <a:lstStyle/>
          <a:p>
            <a:fld id="{EEAD9179-7A6B-4268-BEB2-F3B8EB06115B}" type="slidenum">
              <a:rPr lang="en-US" noProof="0" smtClean="0"/>
              <a:t>41</a:t>
            </a:fld>
            <a:endParaRPr lang="en-US" noProof="0"/>
          </a:p>
        </p:txBody>
      </p:sp>
      <p:sp>
        <p:nvSpPr>
          <p:cNvPr id="7" name="TextBox 6">
            <a:extLst>
              <a:ext uri="{FF2B5EF4-FFF2-40B4-BE49-F238E27FC236}">
                <a16:creationId xmlns:a16="http://schemas.microsoft.com/office/drawing/2014/main" id="{4FD26440-7283-8187-931C-9A2076A55614}"/>
              </a:ext>
            </a:extLst>
          </p:cNvPr>
          <p:cNvSpPr txBox="1"/>
          <p:nvPr/>
        </p:nvSpPr>
        <p:spPr>
          <a:xfrm>
            <a:off x="865388" y="5961530"/>
            <a:ext cx="2743200" cy="523220"/>
          </a:xfrm>
          <a:prstGeom prst="rect">
            <a:avLst/>
          </a:prstGeom>
          <a:noFill/>
        </p:spPr>
        <p:txBody>
          <a:bodyPr wrap="square" rtlCol="0">
            <a:spAutoFit/>
          </a:bodyPr>
          <a:lstStyle/>
          <a:p>
            <a:pPr algn="ctr"/>
            <a:r>
              <a:rPr lang="en-US" sz="1400" i="1"/>
              <a:t>resampled ERA5 data (8km) vs </a:t>
            </a:r>
          </a:p>
          <a:p>
            <a:pPr algn="ctr"/>
            <a:r>
              <a:rPr lang="en-US" sz="1400" i="1"/>
              <a:t>TWC Data (8km)</a:t>
            </a:r>
            <a:endParaRPr lang="en-US" sz="1400"/>
          </a:p>
        </p:txBody>
      </p:sp>
      <p:sp>
        <p:nvSpPr>
          <p:cNvPr id="8" name="TextBox 7">
            <a:extLst>
              <a:ext uri="{FF2B5EF4-FFF2-40B4-BE49-F238E27FC236}">
                <a16:creationId xmlns:a16="http://schemas.microsoft.com/office/drawing/2014/main" id="{203D7B8F-E699-0F7B-F591-9A5FC71526DB}"/>
              </a:ext>
            </a:extLst>
          </p:cNvPr>
          <p:cNvSpPr txBox="1"/>
          <p:nvPr/>
        </p:nvSpPr>
        <p:spPr>
          <a:xfrm>
            <a:off x="4488170" y="5935369"/>
            <a:ext cx="3209925" cy="738664"/>
          </a:xfrm>
          <a:prstGeom prst="rect">
            <a:avLst/>
          </a:prstGeom>
          <a:noFill/>
        </p:spPr>
        <p:txBody>
          <a:bodyPr wrap="square" rtlCol="0">
            <a:spAutoFit/>
          </a:bodyPr>
          <a:lstStyle/>
          <a:p>
            <a:pPr algn="ctr"/>
            <a:r>
              <a:rPr lang="en-US" sz="1400" i="1"/>
              <a:t>model interpolated ERA5 data (8km) vs </a:t>
            </a:r>
          </a:p>
          <a:p>
            <a:pPr algn="ctr"/>
            <a:r>
              <a:rPr lang="en-US" sz="1400" i="1"/>
              <a:t>TWC Data (8km)</a:t>
            </a:r>
          </a:p>
          <a:p>
            <a:pPr algn="ctr"/>
            <a:r>
              <a:rPr lang="en-US" sz="1400"/>
              <a:t>(</a:t>
            </a:r>
            <a:r>
              <a:rPr lang="en-US" sz="1400">
                <a:solidFill>
                  <a:srgbClr val="7030A0"/>
                </a:solidFill>
              </a:rPr>
              <a:t>train</a:t>
            </a:r>
            <a:r>
              <a:rPr lang="en-US" sz="1400"/>
              <a:t> set)</a:t>
            </a:r>
          </a:p>
        </p:txBody>
      </p:sp>
      <p:sp>
        <p:nvSpPr>
          <p:cNvPr id="11" name="TextBox 10">
            <a:extLst>
              <a:ext uri="{FF2B5EF4-FFF2-40B4-BE49-F238E27FC236}">
                <a16:creationId xmlns:a16="http://schemas.microsoft.com/office/drawing/2014/main" id="{8F066125-9191-2409-EB91-B3F97BFD33F4}"/>
              </a:ext>
            </a:extLst>
          </p:cNvPr>
          <p:cNvSpPr txBox="1"/>
          <p:nvPr/>
        </p:nvSpPr>
        <p:spPr>
          <a:xfrm>
            <a:off x="8271893" y="5935369"/>
            <a:ext cx="3324225" cy="738664"/>
          </a:xfrm>
          <a:prstGeom prst="rect">
            <a:avLst/>
          </a:prstGeom>
          <a:noFill/>
        </p:spPr>
        <p:txBody>
          <a:bodyPr wrap="square" rtlCol="0">
            <a:spAutoFit/>
          </a:bodyPr>
          <a:lstStyle/>
          <a:p>
            <a:pPr algn="ctr"/>
            <a:r>
              <a:rPr lang="en-US" sz="1400" i="1"/>
              <a:t>model interpolated ERA5 data (8km) vs </a:t>
            </a:r>
          </a:p>
          <a:p>
            <a:pPr algn="ctr"/>
            <a:r>
              <a:rPr lang="en-US" sz="1400" i="1"/>
              <a:t>TWC Data (8km)</a:t>
            </a:r>
          </a:p>
          <a:p>
            <a:pPr algn="ctr"/>
            <a:r>
              <a:rPr lang="en-US" sz="1400"/>
              <a:t>(</a:t>
            </a:r>
            <a:r>
              <a:rPr lang="en-US" sz="1400">
                <a:solidFill>
                  <a:schemeClr val="accent2">
                    <a:lumMod val="75000"/>
                  </a:schemeClr>
                </a:solidFill>
              </a:rPr>
              <a:t>test</a:t>
            </a:r>
            <a:r>
              <a:rPr lang="en-US" sz="1400"/>
              <a:t> set)</a:t>
            </a:r>
          </a:p>
        </p:txBody>
      </p:sp>
      <p:sp>
        <p:nvSpPr>
          <p:cNvPr id="5" name="TextBox 4">
            <a:extLst>
              <a:ext uri="{FF2B5EF4-FFF2-40B4-BE49-F238E27FC236}">
                <a16:creationId xmlns:a16="http://schemas.microsoft.com/office/drawing/2014/main" id="{928ADAB0-2521-2F4C-A186-D157315588B6}"/>
              </a:ext>
            </a:extLst>
          </p:cNvPr>
          <p:cNvSpPr txBox="1"/>
          <p:nvPr/>
        </p:nvSpPr>
        <p:spPr>
          <a:xfrm>
            <a:off x="865388" y="3360036"/>
            <a:ext cx="415265" cy="276999"/>
          </a:xfrm>
          <a:prstGeom prst="rect">
            <a:avLst/>
          </a:prstGeom>
          <a:solidFill>
            <a:schemeClr val="bg1"/>
          </a:solidFill>
        </p:spPr>
        <p:txBody>
          <a:bodyPr wrap="square" rtlCol="0">
            <a:spAutoFit/>
          </a:bodyPr>
          <a:lstStyle/>
          <a:p>
            <a:pPr algn="r"/>
            <a:r>
              <a:rPr lang="en-US" sz="1200"/>
              <a:t>R</a:t>
            </a:r>
            <a:r>
              <a:rPr lang="en-US" sz="1200" baseline="30000"/>
              <a:t>2</a:t>
            </a:r>
            <a:r>
              <a:rPr lang="en-US" sz="1200"/>
              <a:t>:</a:t>
            </a:r>
          </a:p>
        </p:txBody>
      </p:sp>
      <p:sp>
        <p:nvSpPr>
          <p:cNvPr id="12" name="TextBox 11">
            <a:extLst>
              <a:ext uri="{FF2B5EF4-FFF2-40B4-BE49-F238E27FC236}">
                <a16:creationId xmlns:a16="http://schemas.microsoft.com/office/drawing/2014/main" id="{227954B6-5A60-968D-525D-058922609EBB}"/>
              </a:ext>
            </a:extLst>
          </p:cNvPr>
          <p:cNvSpPr txBox="1"/>
          <p:nvPr/>
        </p:nvSpPr>
        <p:spPr>
          <a:xfrm>
            <a:off x="4672404" y="3378950"/>
            <a:ext cx="415265" cy="276999"/>
          </a:xfrm>
          <a:prstGeom prst="rect">
            <a:avLst/>
          </a:prstGeom>
          <a:solidFill>
            <a:schemeClr val="bg1"/>
          </a:solidFill>
        </p:spPr>
        <p:txBody>
          <a:bodyPr wrap="square" rtlCol="0">
            <a:spAutoFit/>
          </a:bodyPr>
          <a:lstStyle/>
          <a:p>
            <a:pPr algn="r"/>
            <a:r>
              <a:rPr lang="en-US" sz="1200"/>
              <a:t>R</a:t>
            </a:r>
            <a:r>
              <a:rPr lang="en-US" sz="1200" baseline="30000"/>
              <a:t>2</a:t>
            </a:r>
            <a:r>
              <a:rPr lang="en-US" sz="1200"/>
              <a:t>:</a:t>
            </a:r>
          </a:p>
        </p:txBody>
      </p:sp>
      <p:sp>
        <p:nvSpPr>
          <p:cNvPr id="13" name="TextBox 12">
            <a:extLst>
              <a:ext uri="{FF2B5EF4-FFF2-40B4-BE49-F238E27FC236}">
                <a16:creationId xmlns:a16="http://schemas.microsoft.com/office/drawing/2014/main" id="{74C80300-FCA7-F168-3524-875E4815B852}"/>
              </a:ext>
            </a:extLst>
          </p:cNvPr>
          <p:cNvSpPr txBox="1"/>
          <p:nvPr/>
        </p:nvSpPr>
        <p:spPr>
          <a:xfrm>
            <a:off x="8477768" y="3355705"/>
            <a:ext cx="415265" cy="276999"/>
          </a:xfrm>
          <a:prstGeom prst="rect">
            <a:avLst/>
          </a:prstGeom>
          <a:solidFill>
            <a:schemeClr val="bg1"/>
          </a:solidFill>
        </p:spPr>
        <p:txBody>
          <a:bodyPr wrap="square" rtlCol="0">
            <a:spAutoFit/>
          </a:bodyPr>
          <a:lstStyle/>
          <a:p>
            <a:pPr algn="r"/>
            <a:r>
              <a:rPr lang="en-US" sz="1200"/>
              <a:t>R</a:t>
            </a:r>
            <a:r>
              <a:rPr lang="en-US" sz="1200" baseline="30000"/>
              <a:t>2</a:t>
            </a:r>
            <a:r>
              <a:rPr lang="en-US" sz="1200"/>
              <a:t>:</a:t>
            </a:r>
          </a:p>
        </p:txBody>
      </p:sp>
    </p:spTree>
    <p:extLst>
      <p:ext uri="{BB962C8B-B14F-4D97-AF65-F5344CB8AC3E}">
        <p14:creationId xmlns:p14="http://schemas.microsoft.com/office/powerpoint/2010/main" val="3100683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DL Model Results : Total Precipitation</a:t>
            </a:r>
          </a:p>
        </p:txBody>
      </p:sp>
      <p:sp>
        <p:nvSpPr>
          <p:cNvPr id="2" name="TextBox 1">
            <a:extLst>
              <a:ext uri="{FF2B5EF4-FFF2-40B4-BE49-F238E27FC236}">
                <a16:creationId xmlns:a16="http://schemas.microsoft.com/office/drawing/2014/main" id="{B0865CE3-FB3D-D767-F7F8-E149E6F708BA}"/>
              </a:ext>
            </a:extLst>
          </p:cNvPr>
          <p:cNvSpPr txBox="1"/>
          <p:nvPr/>
        </p:nvSpPr>
        <p:spPr>
          <a:xfrm>
            <a:off x="865388" y="1028675"/>
            <a:ext cx="6031888" cy="2957861"/>
          </a:xfrm>
          <a:prstGeom prst="rect">
            <a:avLst/>
          </a:prstGeom>
          <a:noFill/>
        </p:spPr>
        <p:txBody>
          <a:bodyPr wrap="square" rtlCol="0">
            <a:spAutoFit/>
          </a:bodyPr>
          <a:lstStyle/>
          <a:p>
            <a:pPr>
              <a:lnSpc>
                <a:spcPct val="150000"/>
              </a:lnSpc>
            </a:pPr>
            <a:r>
              <a:rPr lang="en-US" b="1"/>
              <a:t>Measures explored to improve </a:t>
            </a:r>
            <a:r>
              <a:rPr lang="en-US" b="1">
                <a:solidFill>
                  <a:srgbClr val="00B0F0"/>
                </a:solidFill>
              </a:rPr>
              <a:t>MLP</a:t>
            </a:r>
            <a:r>
              <a:rPr lang="en-US" b="1"/>
              <a:t> ‘Total Precipitation’ performance:</a:t>
            </a:r>
          </a:p>
          <a:p>
            <a:pPr marL="742950" lvl="1" indent="-285750">
              <a:lnSpc>
                <a:spcPct val="150000"/>
              </a:lnSpc>
              <a:buFont typeface="Courier New" panose="02070309020205020404" pitchFamily="49" charset="0"/>
              <a:buChar char="o"/>
            </a:pPr>
            <a:r>
              <a:rPr lang="en-US"/>
              <a:t>different ratio of train-test-validation split</a:t>
            </a:r>
          </a:p>
          <a:p>
            <a:pPr marL="742950" lvl="1" indent="-285750">
              <a:lnSpc>
                <a:spcPct val="150000"/>
              </a:lnSpc>
              <a:buFont typeface="Courier New" panose="02070309020205020404" pitchFamily="49" charset="0"/>
              <a:buChar char="o"/>
            </a:pPr>
            <a:r>
              <a:rPr lang="en-US"/>
              <a:t>simple and complex model architectures</a:t>
            </a:r>
          </a:p>
          <a:p>
            <a:pPr marL="742950" lvl="1" indent="-285750">
              <a:lnSpc>
                <a:spcPct val="150000"/>
              </a:lnSpc>
              <a:buFont typeface="Courier New" panose="02070309020205020404" pitchFamily="49" charset="0"/>
              <a:buChar char="o"/>
            </a:pPr>
            <a:r>
              <a:rPr lang="en-US"/>
              <a:t>adjusting hyperparameter values</a:t>
            </a:r>
          </a:p>
          <a:p>
            <a:pPr marL="742950" lvl="1" indent="-285750">
              <a:lnSpc>
                <a:spcPct val="150000"/>
              </a:lnSpc>
              <a:buFont typeface="Courier New" panose="02070309020205020404" pitchFamily="49" charset="0"/>
              <a:buChar char="o"/>
            </a:pPr>
            <a:r>
              <a:rPr lang="en-US"/>
              <a:t>different optimizers</a:t>
            </a:r>
          </a:p>
          <a:p>
            <a:pPr marL="742950" lvl="1" indent="-285750">
              <a:lnSpc>
                <a:spcPct val="150000"/>
              </a:lnSpc>
              <a:buFont typeface="Courier New" panose="02070309020205020404" pitchFamily="49" charset="0"/>
              <a:buChar char="o"/>
            </a:pPr>
            <a:r>
              <a:rPr lang="en-US"/>
              <a:t>early stopping, dropout, adding/removing features</a:t>
            </a:r>
          </a:p>
        </p:txBody>
      </p:sp>
      <p:pic>
        <p:nvPicPr>
          <p:cNvPr id="5" name="Picture 4">
            <a:extLst>
              <a:ext uri="{FF2B5EF4-FFF2-40B4-BE49-F238E27FC236}">
                <a16:creationId xmlns:a16="http://schemas.microsoft.com/office/drawing/2014/main" id="{FDC010C9-2B4A-259D-24E8-5E49354DD99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97276" y="1114759"/>
            <a:ext cx="4360749" cy="3342571"/>
          </a:xfrm>
          <a:prstGeom prst="rect">
            <a:avLst/>
          </a:prstGeom>
        </p:spPr>
      </p:pic>
      <p:sp>
        <p:nvSpPr>
          <p:cNvPr id="3" name="Slide Number Placeholder 2">
            <a:extLst>
              <a:ext uri="{FF2B5EF4-FFF2-40B4-BE49-F238E27FC236}">
                <a16:creationId xmlns:a16="http://schemas.microsoft.com/office/drawing/2014/main" id="{8F971888-5CED-2514-FB79-CEC0AE9C973D}"/>
              </a:ext>
            </a:extLst>
          </p:cNvPr>
          <p:cNvSpPr>
            <a:spLocks noGrp="1"/>
          </p:cNvSpPr>
          <p:nvPr>
            <p:ph type="sldNum" sz="quarter" idx="12"/>
          </p:nvPr>
        </p:nvSpPr>
        <p:spPr/>
        <p:txBody>
          <a:bodyPr/>
          <a:lstStyle/>
          <a:p>
            <a:fld id="{EEAD9179-7A6B-4268-BEB2-F3B8EB06115B}" type="slidenum">
              <a:rPr lang="en-US" noProof="0" smtClean="0"/>
              <a:t>42</a:t>
            </a:fld>
            <a:endParaRPr lang="en-US" noProof="0"/>
          </a:p>
        </p:txBody>
      </p:sp>
      <p:sp>
        <p:nvSpPr>
          <p:cNvPr id="4" name="TextBox 3">
            <a:extLst>
              <a:ext uri="{FF2B5EF4-FFF2-40B4-BE49-F238E27FC236}">
                <a16:creationId xmlns:a16="http://schemas.microsoft.com/office/drawing/2014/main" id="{83BCD419-89C7-9F7E-2906-52E2ED81E12F}"/>
              </a:ext>
            </a:extLst>
          </p:cNvPr>
          <p:cNvSpPr txBox="1"/>
          <p:nvPr/>
        </p:nvSpPr>
        <p:spPr>
          <a:xfrm>
            <a:off x="865388" y="4027871"/>
            <a:ext cx="10583662" cy="2639441"/>
          </a:xfrm>
          <a:prstGeom prst="rect">
            <a:avLst/>
          </a:prstGeom>
          <a:noFill/>
        </p:spPr>
        <p:txBody>
          <a:bodyPr wrap="square" lIns="91440" tIns="45720" rIns="91440" bIns="45720" rtlCol="0" anchor="t">
            <a:spAutoFit/>
          </a:bodyPr>
          <a:lstStyle/>
          <a:p>
            <a:pPr>
              <a:lnSpc>
                <a:spcPct val="150000"/>
              </a:lnSpc>
            </a:pPr>
            <a:r>
              <a:rPr lang="en-US" sz="1600" b="1"/>
              <a:t>Future works:</a:t>
            </a:r>
          </a:p>
          <a:p>
            <a:pPr marL="285750" indent="-285750">
              <a:lnSpc>
                <a:spcPct val="150000"/>
              </a:lnSpc>
              <a:buFont typeface="Courier New" panose="02070309020205020404" pitchFamily="49" charset="0"/>
              <a:buChar char="o"/>
            </a:pPr>
            <a:r>
              <a:rPr lang="en-US" sz="1600"/>
              <a:t>More architectures and different sets of hyperparameters</a:t>
            </a:r>
          </a:p>
          <a:p>
            <a:pPr marL="285750" indent="-285750">
              <a:lnSpc>
                <a:spcPct val="150000"/>
              </a:lnSpc>
              <a:buFont typeface="Courier New" panose="02070309020205020404" pitchFamily="49" charset="0"/>
              <a:buChar char="o"/>
            </a:pPr>
            <a:r>
              <a:rPr lang="en-US" sz="1600"/>
              <a:t>New data splitting strategy to remove skewness in data</a:t>
            </a:r>
          </a:p>
          <a:p>
            <a:pPr marL="285750" indent="-285750">
              <a:lnSpc>
                <a:spcPct val="150000"/>
              </a:lnSpc>
              <a:buFont typeface="Courier New" panose="02070309020205020404" pitchFamily="49" charset="0"/>
              <a:buChar char="o"/>
            </a:pPr>
            <a:r>
              <a:rPr lang="en-US" sz="1600"/>
              <a:t>Incorporating more samples in training/observed dataset </a:t>
            </a:r>
          </a:p>
          <a:p>
            <a:pPr marL="285750" indent="-285750">
              <a:lnSpc>
                <a:spcPct val="150000"/>
              </a:lnSpc>
              <a:buFont typeface="Courier New" panose="02070309020205020404" pitchFamily="49" charset="0"/>
              <a:buChar char="o"/>
            </a:pPr>
            <a:r>
              <a:rPr lang="en-US" sz="1600"/>
              <a:t>Incorporating high resolution datasets in input variables</a:t>
            </a:r>
          </a:p>
          <a:p>
            <a:pPr marL="285750" indent="-285750">
              <a:lnSpc>
                <a:spcPct val="150000"/>
              </a:lnSpc>
              <a:buFont typeface="Courier New" panose="02070309020205020404" pitchFamily="49" charset="0"/>
              <a:buChar char="o"/>
            </a:pPr>
            <a:r>
              <a:rPr lang="en-US" sz="1600"/>
              <a:t>Trying out complex DL algorithms : CNN, </a:t>
            </a:r>
            <a:r>
              <a:rPr lang="en-US" sz="1600" err="1"/>
              <a:t>UNet</a:t>
            </a:r>
            <a:r>
              <a:rPr lang="en-US" sz="1600"/>
              <a:t>, LSTM (</a:t>
            </a:r>
            <a:r>
              <a:rPr lang="en-US" sz="1600" u="sng">
                <a:solidFill>
                  <a:srgbClr val="0070C0"/>
                </a:solidFill>
              </a:rPr>
              <a:t>Gonzalez 2023, Wang et al. 2022, Sha et al. 2020, Anh et al. 2019</a:t>
            </a:r>
            <a:r>
              <a:rPr lang="en-US" sz="1600"/>
              <a:t>)</a:t>
            </a:r>
          </a:p>
          <a:p>
            <a:pPr marL="285750" indent="-285750">
              <a:lnSpc>
                <a:spcPct val="150000"/>
              </a:lnSpc>
              <a:buFont typeface="Courier New" panose="02070309020205020404" pitchFamily="49" charset="0"/>
              <a:buChar char="o"/>
            </a:pPr>
            <a:r>
              <a:rPr lang="en-US" sz="1600"/>
              <a:t>Exploring Sensor/Station data to discover insights.</a:t>
            </a:r>
          </a:p>
        </p:txBody>
      </p:sp>
    </p:spTree>
    <p:extLst>
      <p:ext uri="{BB962C8B-B14F-4D97-AF65-F5344CB8AC3E}">
        <p14:creationId xmlns:p14="http://schemas.microsoft.com/office/powerpoint/2010/main" val="37184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ML/DL Model Results : R</a:t>
            </a:r>
            <a:r>
              <a:rPr lang="en-US" sz="3600" b="1" baseline="30000">
                <a:solidFill>
                  <a:schemeClr val="accent1">
                    <a:lumMod val="50000"/>
                  </a:schemeClr>
                </a:solidFill>
                <a:latin typeface="Arial"/>
                <a:cs typeface="Arial"/>
              </a:rPr>
              <a:t>2</a:t>
            </a:r>
            <a:r>
              <a:rPr lang="en-US" sz="3600" b="1">
                <a:solidFill>
                  <a:schemeClr val="accent1">
                    <a:lumMod val="50000"/>
                  </a:schemeClr>
                </a:solidFill>
                <a:latin typeface="Arial"/>
                <a:cs typeface="Arial"/>
              </a:rPr>
              <a:t> comparison</a:t>
            </a:r>
          </a:p>
        </p:txBody>
      </p:sp>
      <p:sp>
        <p:nvSpPr>
          <p:cNvPr id="3" name="Slide Number Placeholder 2">
            <a:extLst>
              <a:ext uri="{FF2B5EF4-FFF2-40B4-BE49-F238E27FC236}">
                <a16:creationId xmlns:a16="http://schemas.microsoft.com/office/drawing/2014/main" id="{8F7366FC-D57D-85C7-3D1E-27B86798B5B2}"/>
              </a:ext>
            </a:extLst>
          </p:cNvPr>
          <p:cNvSpPr>
            <a:spLocks noGrp="1"/>
          </p:cNvSpPr>
          <p:nvPr>
            <p:ph type="sldNum" sz="quarter" idx="12"/>
          </p:nvPr>
        </p:nvSpPr>
        <p:spPr/>
        <p:txBody>
          <a:bodyPr/>
          <a:lstStyle/>
          <a:p>
            <a:fld id="{EEAD9179-7A6B-4268-BEB2-F3B8EB06115B}" type="slidenum">
              <a:rPr lang="en-US" noProof="0" smtClean="0"/>
              <a:t>43</a:t>
            </a:fld>
            <a:endParaRPr lang="en-US" noProof="0"/>
          </a:p>
        </p:txBody>
      </p:sp>
      <p:graphicFrame>
        <p:nvGraphicFramePr>
          <p:cNvPr id="5" name="Table 5">
            <a:extLst>
              <a:ext uri="{FF2B5EF4-FFF2-40B4-BE49-F238E27FC236}">
                <a16:creationId xmlns:a16="http://schemas.microsoft.com/office/drawing/2014/main" id="{8954F76B-D164-244F-57F5-54AA63A6742C}"/>
              </a:ext>
            </a:extLst>
          </p:cNvPr>
          <p:cNvGraphicFramePr>
            <a:graphicFrameLocks noGrp="1"/>
          </p:cNvGraphicFramePr>
          <p:nvPr>
            <p:extLst>
              <p:ext uri="{D42A27DB-BD31-4B8C-83A1-F6EECF244321}">
                <p14:modId xmlns:p14="http://schemas.microsoft.com/office/powerpoint/2010/main" val="2293213796"/>
              </p:ext>
            </p:extLst>
          </p:nvPr>
        </p:nvGraphicFramePr>
        <p:xfrm>
          <a:off x="842391" y="1349979"/>
          <a:ext cx="10840627" cy="4311392"/>
        </p:xfrm>
        <a:graphic>
          <a:graphicData uri="http://schemas.openxmlformats.org/drawingml/2006/table">
            <a:tbl>
              <a:tblPr firstRow="1" bandRow="1">
                <a:tableStyleId>{F5AB1C69-6EDB-4FF4-983F-18BD219EF322}</a:tableStyleId>
              </a:tblPr>
              <a:tblGrid>
                <a:gridCol w="1548661">
                  <a:extLst>
                    <a:ext uri="{9D8B030D-6E8A-4147-A177-3AD203B41FA5}">
                      <a16:colId xmlns:a16="http://schemas.microsoft.com/office/drawing/2014/main" val="3235365019"/>
                    </a:ext>
                  </a:extLst>
                </a:gridCol>
                <a:gridCol w="1548661">
                  <a:extLst>
                    <a:ext uri="{9D8B030D-6E8A-4147-A177-3AD203B41FA5}">
                      <a16:colId xmlns:a16="http://schemas.microsoft.com/office/drawing/2014/main" val="441801857"/>
                    </a:ext>
                  </a:extLst>
                </a:gridCol>
                <a:gridCol w="1548661">
                  <a:extLst>
                    <a:ext uri="{9D8B030D-6E8A-4147-A177-3AD203B41FA5}">
                      <a16:colId xmlns:a16="http://schemas.microsoft.com/office/drawing/2014/main" val="2603983797"/>
                    </a:ext>
                  </a:extLst>
                </a:gridCol>
                <a:gridCol w="1548661">
                  <a:extLst>
                    <a:ext uri="{9D8B030D-6E8A-4147-A177-3AD203B41FA5}">
                      <a16:colId xmlns:a16="http://schemas.microsoft.com/office/drawing/2014/main" val="2860698765"/>
                    </a:ext>
                  </a:extLst>
                </a:gridCol>
                <a:gridCol w="1548661">
                  <a:extLst>
                    <a:ext uri="{9D8B030D-6E8A-4147-A177-3AD203B41FA5}">
                      <a16:colId xmlns:a16="http://schemas.microsoft.com/office/drawing/2014/main" val="1946521432"/>
                    </a:ext>
                  </a:extLst>
                </a:gridCol>
                <a:gridCol w="1548661">
                  <a:extLst>
                    <a:ext uri="{9D8B030D-6E8A-4147-A177-3AD203B41FA5}">
                      <a16:colId xmlns:a16="http://schemas.microsoft.com/office/drawing/2014/main" val="2338884941"/>
                    </a:ext>
                  </a:extLst>
                </a:gridCol>
                <a:gridCol w="1548661">
                  <a:extLst>
                    <a:ext uri="{9D8B030D-6E8A-4147-A177-3AD203B41FA5}">
                      <a16:colId xmlns:a16="http://schemas.microsoft.com/office/drawing/2014/main" val="490725438"/>
                    </a:ext>
                  </a:extLst>
                </a:gridCol>
              </a:tblGrid>
              <a:tr h="819330">
                <a:tc>
                  <a:txBody>
                    <a:bodyPr/>
                    <a:lstStyle/>
                    <a:p>
                      <a:pPr algn="ctr"/>
                      <a:r>
                        <a:rPr lang="en-US">
                          <a:solidFill>
                            <a:schemeClr val="tx1"/>
                          </a:solidFill>
                        </a:rPr>
                        <a:t>Variable</a:t>
                      </a:r>
                    </a:p>
                  </a:txBody>
                  <a:tcPr anchor="ctr"/>
                </a:tc>
                <a:tc>
                  <a:txBody>
                    <a:bodyPr/>
                    <a:lstStyle/>
                    <a:p>
                      <a:pPr algn="ctr"/>
                      <a:r>
                        <a:rPr lang="en-US">
                          <a:solidFill>
                            <a:schemeClr val="tx1"/>
                          </a:solidFill>
                        </a:rPr>
                        <a:t>Days in Test Dataset</a:t>
                      </a:r>
                    </a:p>
                  </a:txBody>
                  <a:tcPr anchor="ctr"/>
                </a:tc>
                <a:tc>
                  <a:txBody>
                    <a:bodyPr/>
                    <a:lstStyle/>
                    <a:p>
                      <a:pPr algn="ctr"/>
                      <a:r>
                        <a:rPr lang="en-US">
                          <a:solidFill>
                            <a:schemeClr val="accent2">
                              <a:lumMod val="75000"/>
                            </a:schemeClr>
                          </a:solidFill>
                        </a:rPr>
                        <a:t>Negative R</a:t>
                      </a:r>
                      <a:r>
                        <a:rPr lang="en-US" baseline="30000">
                          <a:solidFill>
                            <a:schemeClr val="accent2">
                              <a:lumMod val="75000"/>
                            </a:schemeClr>
                          </a:solidFill>
                        </a:rPr>
                        <a:t>2</a:t>
                      </a:r>
                    </a:p>
                    <a:p>
                      <a:pPr algn="ctr"/>
                      <a:r>
                        <a:rPr lang="en-US">
                          <a:solidFill>
                            <a:schemeClr val="accent2">
                              <a:lumMod val="75000"/>
                            </a:schemeClr>
                          </a:solidFill>
                        </a:rPr>
                        <a:t>before model</a:t>
                      </a:r>
                    </a:p>
                    <a:p>
                      <a:pPr algn="ctr"/>
                      <a:r>
                        <a:rPr lang="en-US">
                          <a:solidFill>
                            <a:schemeClr val="accent2">
                              <a:lumMod val="75000"/>
                            </a:schemeClr>
                          </a:solidFill>
                        </a:rPr>
                        <a:t>(days)</a:t>
                      </a:r>
                    </a:p>
                  </a:txBody>
                  <a:tcPr anchor="ctr"/>
                </a:tc>
                <a:tc>
                  <a:txBody>
                    <a:bodyPr/>
                    <a:lstStyle/>
                    <a:p>
                      <a:pPr algn="ctr"/>
                      <a:r>
                        <a:rPr lang="en-US">
                          <a:solidFill>
                            <a:schemeClr val="accent5">
                              <a:lumMod val="75000"/>
                            </a:schemeClr>
                          </a:solidFill>
                        </a:rPr>
                        <a:t>Negative R</a:t>
                      </a:r>
                      <a:r>
                        <a:rPr lang="en-US" baseline="30000">
                          <a:solidFill>
                            <a:schemeClr val="accent5">
                              <a:lumMod val="75000"/>
                            </a:schemeClr>
                          </a:solidFill>
                        </a:rPr>
                        <a:t>2</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tc>
                  <a:txBody>
                    <a:bodyPr/>
                    <a:lstStyle/>
                    <a:p>
                      <a:pPr algn="ctr"/>
                      <a:r>
                        <a:rPr lang="en-US">
                          <a:solidFill>
                            <a:schemeClr val="accent5">
                              <a:lumMod val="75000"/>
                            </a:schemeClr>
                          </a:solidFill>
                        </a:rPr>
                        <a:t>R</a:t>
                      </a:r>
                      <a:r>
                        <a:rPr lang="en-US" baseline="30000">
                          <a:solidFill>
                            <a:schemeClr val="accent5">
                              <a:lumMod val="75000"/>
                            </a:schemeClr>
                          </a:solidFill>
                        </a:rPr>
                        <a:t>2</a:t>
                      </a:r>
                      <a:r>
                        <a:rPr lang="en-US">
                          <a:solidFill>
                            <a:schemeClr val="accent5">
                              <a:lumMod val="75000"/>
                            </a:schemeClr>
                          </a:solidFill>
                        </a:rPr>
                        <a:t> &gt; 0.3</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tc>
                  <a:txBody>
                    <a:bodyPr/>
                    <a:lstStyle/>
                    <a:p>
                      <a:pPr algn="ctr"/>
                      <a:r>
                        <a:rPr lang="en-US">
                          <a:solidFill>
                            <a:schemeClr val="accent5">
                              <a:lumMod val="75000"/>
                            </a:schemeClr>
                          </a:solidFill>
                        </a:rPr>
                        <a:t>R</a:t>
                      </a:r>
                      <a:r>
                        <a:rPr lang="en-US" baseline="30000">
                          <a:solidFill>
                            <a:schemeClr val="accent5">
                              <a:lumMod val="75000"/>
                            </a:schemeClr>
                          </a:solidFill>
                        </a:rPr>
                        <a:t>2</a:t>
                      </a:r>
                      <a:r>
                        <a:rPr lang="en-US">
                          <a:solidFill>
                            <a:schemeClr val="accent5">
                              <a:lumMod val="75000"/>
                            </a:schemeClr>
                          </a:solidFill>
                        </a:rPr>
                        <a:t> &gt; 0.5</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tc>
                  <a:txBody>
                    <a:bodyPr/>
                    <a:lstStyle/>
                    <a:p>
                      <a:pPr algn="ctr"/>
                      <a:r>
                        <a:rPr lang="en-US">
                          <a:solidFill>
                            <a:schemeClr val="accent5">
                              <a:lumMod val="75000"/>
                            </a:schemeClr>
                          </a:solidFill>
                        </a:rPr>
                        <a:t>R</a:t>
                      </a:r>
                      <a:r>
                        <a:rPr lang="en-US" baseline="30000">
                          <a:solidFill>
                            <a:schemeClr val="accent5">
                              <a:lumMod val="75000"/>
                            </a:schemeClr>
                          </a:solidFill>
                        </a:rPr>
                        <a:t>2 </a:t>
                      </a:r>
                      <a:r>
                        <a:rPr lang="en-US">
                          <a:solidFill>
                            <a:schemeClr val="accent5">
                              <a:lumMod val="75000"/>
                            </a:schemeClr>
                          </a:solidFill>
                        </a:rPr>
                        <a:t>&gt; 0.6</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extLst>
                  <a:ext uri="{0D108BD9-81ED-4DB2-BD59-A6C34878D82A}">
                    <a16:rowId xmlns:a16="http://schemas.microsoft.com/office/drawing/2014/main" val="976304130"/>
                  </a:ext>
                </a:extLst>
              </a:tr>
              <a:tr h="849248">
                <a:tc>
                  <a:txBody>
                    <a:bodyPr/>
                    <a:lstStyle/>
                    <a:p>
                      <a:pPr algn="ctr"/>
                      <a:r>
                        <a:rPr lang="en-US" sz="1600">
                          <a:solidFill>
                            <a:schemeClr val="tx1"/>
                          </a:solidFill>
                        </a:rPr>
                        <a:t>Avg Wind Speed</a:t>
                      </a:r>
                    </a:p>
                  </a:txBody>
                  <a:tcPr anchor="ctr"/>
                </a:tc>
                <a:tc>
                  <a:txBody>
                    <a:bodyPr/>
                    <a:lstStyle/>
                    <a:p>
                      <a:pPr algn="ctr"/>
                      <a:r>
                        <a:rPr lang="en-US">
                          <a:solidFill>
                            <a:schemeClr val="tx1"/>
                          </a:solidFill>
                        </a:rPr>
                        <a:t>572</a:t>
                      </a:r>
                    </a:p>
                  </a:txBody>
                  <a:tcPr anchor="ctr"/>
                </a:tc>
                <a:tc>
                  <a:txBody>
                    <a:bodyPr/>
                    <a:lstStyle/>
                    <a:p>
                      <a:pPr algn="ctr"/>
                      <a:r>
                        <a:rPr lang="en-US">
                          <a:solidFill>
                            <a:schemeClr val="accent2">
                              <a:lumMod val="75000"/>
                            </a:schemeClr>
                          </a:solidFill>
                        </a:rPr>
                        <a:t>437</a:t>
                      </a:r>
                    </a:p>
                  </a:txBody>
                  <a:tcPr anchor="ctr"/>
                </a:tc>
                <a:tc>
                  <a:txBody>
                    <a:bodyPr/>
                    <a:lstStyle/>
                    <a:p>
                      <a:pPr algn="ctr"/>
                      <a:r>
                        <a:rPr lang="en-US">
                          <a:solidFill>
                            <a:schemeClr val="accent5">
                              <a:lumMod val="75000"/>
                            </a:schemeClr>
                          </a:solidFill>
                        </a:rPr>
                        <a:t>61</a:t>
                      </a:r>
                    </a:p>
                  </a:txBody>
                  <a:tcPr anchor="ctr"/>
                </a:tc>
                <a:tc>
                  <a:txBody>
                    <a:bodyPr/>
                    <a:lstStyle/>
                    <a:p>
                      <a:pPr algn="ctr"/>
                      <a:r>
                        <a:rPr lang="en-US">
                          <a:solidFill>
                            <a:schemeClr val="accent5">
                              <a:lumMod val="75000"/>
                            </a:schemeClr>
                          </a:solidFill>
                        </a:rPr>
                        <a:t>455</a:t>
                      </a:r>
                    </a:p>
                  </a:txBody>
                  <a:tcPr anchor="ctr"/>
                </a:tc>
                <a:tc>
                  <a:txBody>
                    <a:bodyPr/>
                    <a:lstStyle/>
                    <a:p>
                      <a:pPr algn="ctr"/>
                      <a:r>
                        <a:rPr lang="en-US">
                          <a:solidFill>
                            <a:schemeClr val="accent5">
                              <a:lumMod val="75000"/>
                            </a:schemeClr>
                          </a:solidFill>
                        </a:rPr>
                        <a:t>386</a:t>
                      </a:r>
                    </a:p>
                  </a:txBody>
                  <a:tcPr anchor="ctr"/>
                </a:tc>
                <a:tc>
                  <a:txBody>
                    <a:bodyPr/>
                    <a:lstStyle/>
                    <a:p>
                      <a:pPr algn="ctr"/>
                      <a:r>
                        <a:rPr lang="en-US">
                          <a:solidFill>
                            <a:schemeClr val="accent5">
                              <a:lumMod val="75000"/>
                            </a:schemeClr>
                          </a:solidFill>
                        </a:rPr>
                        <a:t>334</a:t>
                      </a:r>
                    </a:p>
                  </a:txBody>
                  <a:tcPr anchor="ctr"/>
                </a:tc>
                <a:extLst>
                  <a:ext uri="{0D108BD9-81ED-4DB2-BD59-A6C34878D82A}">
                    <a16:rowId xmlns:a16="http://schemas.microsoft.com/office/drawing/2014/main" val="3715536421"/>
                  </a:ext>
                </a:extLst>
              </a:tr>
              <a:tr h="849248">
                <a:tc>
                  <a:txBody>
                    <a:bodyPr/>
                    <a:lstStyle/>
                    <a:p>
                      <a:pPr algn="ctr"/>
                      <a:r>
                        <a:rPr lang="en-US" sz="1600">
                          <a:solidFill>
                            <a:schemeClr val="tx1"/>
                          </a:solidFill>
                        </a:rPr>
                        <a:t>Avg Rel Humidity</a:t>
                      </a:r>
                    </a:p>
                  </a:txBody>
                  <a:tcPr anchor="ctr"/>
                </a:tc>
                <a:tc>
                  <a:txBody>
                    <a:bodyPr/>
                    <a:lstStyle/>
                    <a:p>
                      <a:pPr algn="ctr"/>
                      <a:r>
                        <a:rPr lang="en-US">
                          <a:solidFill>
                            <a:schemeClr val="tx1"/>
                          </a:solidFill>
                        </a:rPr>
                        <a:t>572</a:t>
                      </a:r>
                    </a:p>
                  </a:txBody>
                  <a:tcPr anchor="ctr"/>
                </a:tc>
                <a:tc>
                  <a:txBody>
                    <a:bodyPr/>
                    <a:lstStyle/>
                    <a:p>
                      <a:pPr algn="ctr"/>
                      <a:r>
                        <a:rPr lang="en-US">
                          <a:solidFill>
                            <a:schemeClr val="accent2">
                              <a:lumMod val="75000"/>
                            </a:schemeClr>
                          </a:solidFill>
                        </a:rPr>
                        <a:t>377</a:t>
                      </a:r>
                    </a:p>
                  </a:txBody>
                  <a:tcPr anchor="ctr"/>
                </a:tc>
                <a:tc>
                  <a:txBody>
                    <a:bodyPr/>
                    <a:lstStyle/>
                    <a:p>
                      <a:pPr algn="ctr"/>
                      <a:r>
                        <a:rPr lang="en-US">
                          <a:solidFill>
                            <a:schemeClr val="accent5">
                              <a:lumMod val="75000"/>
                            </a:schemeClr>
                          </a:solidFill>
                        </a:rPr>
                        <a:t>75</a:t>
                      </a:r>
                    </a:p>
                  </a:txBody>
                  <a:tcPr anchor="ctr"/>
                </a:tc>
                <a:tc>
                  <a:txBody>
                    <a:bodyPr/>
                    <a:lstStyle/>
                    <a:p>
                      <a:pPr algn="ctr"/>
                      <a:r>
                        <a:rPr lang="en-US">
                          <a:solidFill>
                            <a:schemeClr val="accent5">
                              <a:lumMod val="75000"/>
                            </a:schemeClr>
                          </a:solidFill>
                        </a:rPr>
                        <a:t>421</a:t>
                      </a:r>
                    </a:p>
                  </a:txBody>
                  <a:tcPr anchor="ctr"/>
                </a:tc>
                <a:tc>
                  <a:txBody>
                    <a:bodyPr/>
                    <a:lstStyle/>
                    <a:p>
                      <a:pPr algn="ctr"/>
                      <a:r>
                        <a:rPr lang="en-US">
                          <a:solidFill>
                            <a:schemeClr val="accent5">
                              <a:lumMod val="75000"/>
                            </a:schemeClr>
                          </a:solidFill>
                        </a:rPr>
                        <a:t>326</a:t>
                      </a:r>
                    </a:p>
                  </a:txBody>
                  <a:tcPr anchor="ctr"/>
                </a:tc>
                <a:tc>
                  <a:txBody>
                    <a:bodyPr/>
                    <a:lstStyle/>
                    <a:p>
                      <a:pPr algn="ctr"/>
                      <a:r>
                        <a:rPr lang="en-US">
                          <a:solidFill>
                            <a:schemeClr val="accent5">
                              <a:lumMod val="75000"/>
                            </a:schemeClr>
                          </a:solidFill>
                        </a:rPr>
                        <a:t>272</a:t>
                      </a:r>
                    </a:p>
                  </a:txBody>
                  <a:tcPr anchor="ctr"/>
                </a:tc>
                <a:extLst>
                  <a:ext uri="{0D108BD9-81ED-4DB2-BD59-A6C34878D82A}">
                    <a16:rowId xmlns:a16="http://schemas.microsoft.com/office/drawing/2014/main" val="3915444"/>
                  </a:ext>
                </a:extLst>
              </a:tr>
              <a:tr h="849248">
                <a:tc>
                  <a:txBody>
                    <a:bodyPr/>
                    <a:lstStyle/>
                    <a:p>
                      <a:pPr algn="ctr"/>
                      <a:r>
                        <a:rPr lang="en-US" sz="1600">
                          <a:solidFill>
                            <a:schemeClr val="tx1"/>
                          </a:solidFill>
                        </a:rPr>
                        <a:t>Max Temperature**</a:t>
                      </a:r>
                    </a:p>
                  </a:txBody>
                  <a:tcPr anchor="ctr"/>
                </a:tc>
                <a:tc>
                  <a:txBody>
                    <a:bodyPr/>
                    <a:lstStyle/>
                    <a:p>
                      <a:pPr algn="ctr"/>
                      <a:r>
                        <a:rPr lang="en-US">
                          <a:solidFill>
                            <a:schemeClr val="tx1"/>
                          </a:solidFill>
                        </a:rPr>
                        <a:t>294</a:t>
                      </a:r>
                    </a:p>
                  </a:txBody>
                  <a:tcPr anchor="ctr"/>
                </a:tc>
                <a:tc>
                  <a:txBody>
                    <a:bodyPr/>
                    <a:lstStyle/>
                    <a:p>
                      <a:pPr algn="ctr"/>
                      <a:r>
                        <a:rPr lang="en-US">
                          <a:solidFill>
                            <a:schemeClr val="accent2">
                              <a:lumMod val="75000"/>
                            </a:schemeClr>
                          </a:solidFill>
                        </a:rPr>
                        <a:t>112</a:t>
                      </a:r>
                    </a:p>
                  </a:txBody>
                  <a:tcPr anchor="ctr"/>
                </a:tc>
                <a:tc>
                  <a:txBody>
                    <a:bodyPr/>
                    <a:lstStyle/>
                    <a:p>
                      <a:pPr algn="ctr"/>
                      <a:r>
                        <a:rPr lang="en-US">
                          <a:solidFill>
                            <a:schemeClr val="accent5">
                              <a:lumMod val="75000"/>
                            </a:schemeClr>
                          </a:solidFill>
                        </a:rPr>
                        <a:t>21</a:t>
                      </a:r>
                    </a:p>
                  </a:txBody>
                  <a:tcPr anchor="ctr"/>
                </a:tc>
                <a:tc>
                  <a:txBody>
                    <a:bodyPr/>
                    <a:lstStyle/>
                    <a:p>
                      <a:pPr algn="ctr"/>
                      <a:r>
                        <a:rPr lang="en-US">
                          <a:solidFill>
                            <a:schemeClr val="accent5">
                              <a:lumMod val="75000"/>
                            </a:schemeClr>
                          </a:solidFill>
                        </a:rPr>
                        <a:t>250</a:t>
                      </a:r>
                    </a:p>
                  </a:txBody>
                  <a:tcPr anchor="ctr"/>
                </a:tc>
                <a:tc>
                  <a:txBody>
                    <a:bodyPr/>
                    <a:lstStyle/>
                    <a:p>
                      <a:pPr algn="ctr"/>
                      <a:r>
                        <a:rPr lang="en-US">
                          <a:solidFill>
                            <a:schemeClr val="accent5">
                              <a:lumMod val="75000"/>
                            </a:schemeClr>
                          </a:solidFill>
                        </a:rPr>
                        <a:t>215</a:t>
                      </a:r>
                    </a:p>
                  </a:txBody>
                  <a:tcPr anchor="ctr"/>
                </a:tc>
                <a:tc>
                  <a:txBody>
                    <a:bodyPr/>
                    <a:lstStyle/>
                    <a:p>
                      <a:pPr algn="ctr"/>
                      <a:r>
                        <a:rPr lang="en-US">
                          <a:solidFill>
                            <a:schemeClr val="accent5">
                              <a:lumMod val="75000"/>
                            </a:schemeClr>
                          </a:solidFill>
                        </a:rPr>
                        <a:t>180</a:t>
                      </a:r>
                    </a:p>
                  </a:txBody>
                  <a:tcPr anchor="ctr"/>
                </a:tc>
                <a:extLst>
                  <a:ext uri="{0D108BD9-81ED-4DB2-BD59-A6C34878D82A}">
                    <a16:rowId xmlns:a16="http://schemas.microsoft.com/office/drawing/2014/main" val="1080965937"/>
                  </a:ext>
                </a:extLst>
              </a:tr>
              <a:tr h="849248">
                <a:tc>
                  <a:txBody>
                    <a:bodyPr/>
                    <a:lstStyle/>
                    <a:p>
                      <a:pPr algn="ctr"/>
                      <a:r>
                        <a:rPr lang="en-US" sz="1600">
                          <a:solidFill>
                            <a:schemeClr val="tx1"/>
                          </a:solidFill>
                        </a:rPr>
                        <a:t>Minimum Temperature**</a:t>
                      </a:r>
                    </a:p>
                  </a:txBody>
                  <a:tcPr anchor="ctr"/>
                </a:tc>
                <a:tc>
                  <a:txBody>
                    <a:bodyPr/>
                    <a:lstStyle/>
                    <a:p>
                      <a:pPr algn="ctr"/>
                      <a:r>
                        <a:rPr lang="en-US">
                          <a:solidFill>
                            <a:schemeClr val="tx1"/>
                          </a:solidFill>
                        </a:rPr>
                        <a:t>294</a:t>
                      </a:r>
                    </a:p>
                  </a:txBody>
                  <a:tcPr anchor="ctr"/>
                </a:tc>
                <a:tc>
                  <a:txBody>
                    <a:bodyPr/>
                    <a:lstStyle/>
                    <a:p>
                      <a:pPr algn="ctr"/>
                      <a:r>
                        <a:rPr lang="en-US">
                          <a:solidFill>
                            <a:schemeClr val="accent2">
                              <a:lumMod val="75000"/>
                            </a:schemeClr>
                          </a:solidFill>
                        </a:rPr>
                        <a:t>270</a:t>
                      </a:r>
                    </a:p>
                  </a:txBody>
                  <a:tcPr anchor="ctr"/>
                </a:tc>
                <a:tc>
                  <a:txBody>
                    <a:bodyPr/>
                    <a:lstStyle/>
                    <a:p>
                      <a:pPr algn="ctr"/>
                      <a:r>
                        <a:rPr lang="en-US">
                          <a:solidFill>
                            <a:schemeClr val="accent5">
                              <a:lumMod val="75000"/>
                            </a:schemeClr>
                          </a:solidFill>
                        </a:rPr>
                        <a:t>30</a:t>
                      </a:r>
                    </a:p>
                  </a:txBody>
                  <a:tcPr anchor="ctr"/>
                </a:tc>
                <a:tc>
                  <a:txBody>
                    <a:bodyPr/>
                    <a:lstStyle/>
                    <a:p>
                      <a:pPr algn="ctr"/>
                      <a:r>
                        <a:rPr lang="en-US">
                          <a:solidFill>
                            <a:schemeClr val="accent5">
                              <a:lumMod val="75000"/>
                            </a:schemeClr>
                          </a:solidFill>
                        </a:rPr>
                        <a:t>214</a:t>
                      </a:r>
                    </a:p>
                  </a:txBody>
                  <a:tcPr anchor="ctr"/>
                </a:tc>
                <a:tc>
                  <a:txBody>
                    <a:bodyPr/>
                    <a:lstStyle/>
                    <a:p>
                      <a:pPr algn="ctr"/>
                      <a:r>
                        <a:rPr lang="en-US">
                          <a:solidFill>
                            <a:schemeClr val="accent5">
                              <a:lumMod val="75000"/>
                            </a:schemeClr>
                          </a:solidFill>
                        </a:rPr>
                        <a:t>148</a:t>
                      </a:r>
                    </a:p>
                  </a:txBody>
                  <a:tcPr anchor="ctr"/>
                </a:tc>
                <a:tc>
                  <a:txBody>
                    <a:bodyPr/>
                    <a:lstStyle/>
                    <a:p>
                      <a:pPr algn="ctr"/>
                      <a:r>
                        <a:rPr lang="en-US">
                          <a:solidFill>
                            <a:schemeClr val="accent5">
                              <a:lumMod val="75000"/>
                            </a:schemeClr>
                          </a:solidFill>
                        </a:rPr>
                        <a:t>114</a:t>
                      </a:r>
                    </a:p>
                  </a:txBody>
                  <a:tcPr anchor="ctr"/>
                </a:tc>
                <a:extLst>
                  <a:ext uri="{0D108BD9-81ED-4DB2-BD59-A6C34878D82A}">
                    <a16:rowId xmlns:a16="http://schemas.microsoft.com/office/drawing/2014/main" val="2354756734"/>
                  </a:ext>
                </a:extLst>
              </a:tr>
            </a:tbl>
          </a:graphicData>
        </a:graphic>
      </p:graphicFrame>
      <p:sp>
        <p:nvSpPr>
          <p:cNvPr id="6" name="TextBox 5">
            <a:extLst>
              <a:ext uri="{FF2B5EF4-FFF2-40B4-BE49-F238E27FC236}">
                <a16:creationId xmlns:a16="http://schemas.microsoft.com/office/drawing/2014/main" id="{F9A90AC9-FF45-1DD7-CEB0-5E248581C50C}"/>
              </a:ext>
            </a:extLst>
          </p:cNvPr>
          <p:cNvSpPr txBox="1"/>
          <p:nvPr/>
        </p:nvSpPr>
        <p:spPr>
          <a:xfrm>
            <a:off x="842391" y="5939161"/>
            <a:ext cx="10006122" cy="307777"/>
          </a:xfrm>
          <a:prstGeom prst="rect">
            <a:avLst/>
          </a:prstGeom>
          <a:noFill/>
        </p:spPr>
        <p:txBody>
          <a:bodyPr wrap="square" rtlCol="0">
            <a:spAutoFit/>
          </a:bodyPr>
          <a:lstStyle/>
          <a:p>
            <a:r>
              <a:rPr lang="en-US" sz="1400"/>
              <a:t>** Max/Min Temperature model dataset was filtered for dates before Aug 2019 before performing 80-20 train-test data split. </a:t>
            </a:r>
          </a:p>
        </p:txBody>
      </p:sp>
    </p:spTree>
    <p:extLst>
      <p:ext uri="{BB962C8B-B14F-4D97-AF65-F5344CB8AC3E}">
        <p14:creationId xmlns:p14="http://schemas.microsoft.com/office/powerpoint/2010/main" val="38661307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82940" y="255775"/>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Arial"/>
              </a:rPr>
              <a:t>References</a:t>
            </a:r>
          </a:p>
        </p:txBody>
      </p:sp>
      <p:sp>
        <p:nvSpPr>
          <p:cNvPr id="3" name="Slide Number Placeholder 2">
            <a:extLst>
              <a:ext uri="{FF2B5EF4-FFF2-40B4-BE49-F238E27FC236}">
                <a16:creationId xmlns:a16="http://schemas.microsoft.com/office/drawing/2014/main" id="{7B6B92E1-2AB9-FE4E-E2F4-AE076BC2F1C6}"/>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44</a:t>
            </a:fld>
            <a:endParaRPr lang="en-US" noProof="0">
              <a:latin typeface="Arial"/>
              <a:cs typeface="Arial"/>
            </a:endParaRPr>
          </a:p>
        </p:txBody>
      </p:sp>
      <p:sp>
        <p:nvSpPr>
          <p:cNvPr id="2" name="TextBox 1">
            <a:extLst>
              <a:ext uri="{FF2B5EF4-FFF2-40B4-BE49-F238E27FC236}">
                <a16:creationId xmlns:a16="http://schemas.microsoft.com/office/drawing/2014/main" id="{2D1AE629-3425-E62E-A6F6-3EF5E791B476}"/>
              </a:ext>
            </a:extLst>
          </p:cNvPr>
          <p:cNvSpPr txBox="1"/>
          <p:nvPr/>
        </p:nvSpPr>
        <p:spPr>
          <a:xfrm>
            <a:off x="366209" y="1026022"/>
            <a:ext cx="11308510" cy="5485541"/>
          </a:xfrm>
          <a:prstGeom prst="rect">
            <a:avLst/>
          </a:prstGeom>
          <a:noFill/>
        </p:spPr>
        <p:txBody>
          <a:bodyPr wrap="square" lIns="91440" tIns="45720" rIns="91440" bIns="45720" rtlCol="0" anchor="t">
            <a:spAutoFit/>
          </a:bodyPr>
          <a:lstStyle/>
          <a:p>
            <a:pPr marL="800100" lvl="1" indent="-342900">
              <a:lnSpc>
                <a:spcPct val="150000"/>
              </a:lnSpc>
              <a:buFont typeface="+mj-lt"/>
              <a:buAutoNum type="arabicPeriod"/>
            </a:pPr>
            <a:r>
              <a:rPr lang="en-US" sz="1100" b="0" i="0">
                <a:solidFill>
                  <a:srgbClr val="222222"/>
                </a:solidFill>
                <a:effectLst/>
                <a:latin typeface="Arial"/>
                <a:cs typeface="Arial"/>
              </a:rPr>
              <a:t>Shao, X., Stein, M., &amp; Ching, J. (2007). Statistical comparisons of methods for interpolating the output of a numerical air quality model. </a:t>
            </a:r>
            <a:r>
              <a:rPr lang="en-US" sz="1100" b="0" i="1">
                <a:solidFill>
                  <a:srgbClr val="222222"/>
                </a:solidFill>
                <a:effectLst/>
                <a:latin typeface="Arial"/>
                <a:cs typeface="Arial"/>
              </a:rPr>
              <a:t>Journal of Statistical Planning and Inference</a:t>
            </a:r>
            <a:r>
              <a:rPr lang="en-US" sz="1100" b="0" i="0">
                <a:solidFill>
                  <a:srgbClr val="222222"/>
                </a:solidFill>
                <a:effectLst/>
                <a:latin typeface="Arial"/>
                <a:cs typeface="Arial"/>
              </a:rPr>
              <a:t>, </a:t>
            </a:r>
            <a:r>
              <a:rPr lang="en-US" sz="1100" b="0" i="1">
                <a:solidFill>
                  <a:srgbClr val="222222"/>
                </a:solidFill>
                <a:effectLst/>
                <a:latin typeface="Arial"/>
                <a:cs typeface="Arial"/>
              </a:rPr>
              <a:t>137</a:t>
            </a:r>
            <a:r>
              <a:rPr lang="en-US" sz="1100" b="0" i="0">
                <a:solidFill>
                  <a:srgbClr val="222222"/>
                </a:solidFill>
                <a:effectLst/>
                <a:latin typeface="Arial"/>
                <a:cs typeface="Arial"/>
              </a:rPr>
              <a:t>(7), 2277-2293.</a:t>
            </a:r>
            <a:endParaRPr lang="en-US" sz="1200">
              <a:latin typeface="Arial"/>
              <a:cs typeface="Arial"/>
            </a:endParaRPr>
          </a:p>
          <a:p>
            <a:pPr marL="800100" lvl="1" indent="-342900">
              <a:lnSpc>
                <a:spcPct val="150000"/>
              </a:lnSpc>
              <a:buFont typeface="+mj-lt"/>
              <a:buAutoNum type="arabicPeriod"/>
            </a:pPr>
            <a:r>
              <a:rPr lang="en-US" sz="1200">
                <a:latin typeface="Arial"/>
                <a:cs typeface="Arial"/>
              </a:rPr>
              <a:t>Carletti, R., </a:t>
            </a:r>
            <a:r>
              <a:rPr lang="en-US" sz="1200" err="1">
                <a:latin typeface="Arial"/>
                <a:cs typeface="Arial"/>
              </a:rPr>
              <a:t>Picci</a:t>
            </a:r>
            <a:r>
              <a:rPr lang="en-US" sz="1200">
                <a:latin typeface="Arial"/>
                <a:cs typeface="Arial"/>
              </a:rPr>
              <a:t>, M., &amp; Romano, D. (2000). Kriging and bilinear methods for estimating spatial pattern of atmospheric pollutants. Environmental Monitoring and Assessment, 63, 341-359.</a:t>
            </a:r>
          </a:p>
          <a:p>
            <a:pPr marL="800100" lvl="1" indent="-342900">
              <a:lnSpc>
                <a:spcPct val="150000"/>
              </a:lnSpc>
              <a:buFont typeface="+mj-lt"/>
              <a:buAutoNum type="arabicPeriod"/>
            </a:pPr>
            <a:r>
              <a:rPr lang="en-US" sz="1100" b="0" i="0">
                <a:solidFill>
                  <a:srgbClr val="222222"/>
                </a:solidFill>
                <a:effectLst/>
                <a:latin typeface="Arial"/>
                <a:cs typeface="Arial"/>
              </a:rPr>
              <a:t>Tran Anh, D., Van, S. P., Dang, T. D., &amp; Hoang, L. P. (2019). Downscaling rainfall using deep learning long short‐term memory and feedforward neural network. </a:t>
            </a:r>
            <a:r>
              <a:rPr lang="en-US" sz="1100" b="0" i="1">
                <a:solidFill>
                  <a:srgbClr val="222222"/>
                </a:solidFill>
                <a:effectLst/>
                <a:latin typeface="Arial"/>
                <a:cs typeface="Arial"/>
              </a:rPr>
              <a:t>International Journal of Climatology</a:t>
            </a:r>
            <a:r>
              <a:rPr lang="en-US" sz="1100" b="0" i="0">
                <a:solidFill>
                  <a:srgbClr val="222222"/>
                </a:solidFill>
                <a:effectLst/>
                <a:latin typeface="Arial"/>
                <a:cs typeface="Arial"/>
              </a:rPr>
              <a:t>, </a:t>
            </a:r>
            <a:r>
              <a:rPr lang="en-US" sz="1100" b="0" i="1">
                <a:solidFill>
                  <a:srgbClr val="222222"/>
                </a:solidFill>
                <a:effectLst/>
                <a:latin typeface="Arial"/>
                <a:cs typeface="Arial"/>
              </a:rPr>
              <a:t>39</a:t>
            </a:r>
            <a:r>
              <a:rPr lang="en-US" sz="1100" b="0" i="0">
                <a:solidFill>
                  <a:srgbClr val="222222"/>
                </a:solidFill>
                <a:effectLst/>
                <a:latin typeface="Arial"/>
                <a:cs typeface="Arial"/>
              </a:rPr>
              <a:t>(10), 4170-4188.</a:t>
            </a:r>
            <a:endParaRPr lang="en-US" sz="1200" b="0" i="0">
              <a:solidFill>
                <a:srgbClr val="222222"/>
              </a:solidFill>
              <a:effectLst/>
              <a:latin typeface="Arial"/>
              <a:cs typeface="Arial"/>
            </a:endParaRPr>
          </a:p>
          <a:p>
            <a:pPr marL="800100" lvl="1" indent="-342900">
              <a:lnSpc>
                <a:spcPct val="150000"/>
              </a:lnSpc>
              <a:buFont typeface="+mj-lt"/>
              <a:buAutoNum type="arabicPeriod"/>
            </a:pPr>
            <a:r>
              <a:rPr lang="en-US" sz="1100" b="0" i="0">
                <a:solidFill>
                  <a:srgbClr val="222222"/>
                </a:solidFill>
                <a:effectLst/>
                <a:latin typeface="Arial"/>
                <a:cs typeface="Arial"/>
              </a:rPr>
              <a:t>Baez-Villanueva, O. M., Zambrano-</a:t>
            </a:r>
            <a:r>
              <a:rPr lang="en-US" sz="1100" b="0" i="0" err="1">
                <a:solidFill>
                  <a:srgbClr val="222222"/>
                </a:solidFill>
                <a:effectLst/>
                <a:latin typeface="Arial"/>
                <a:cs typeface="Arial"/>
              </a:rPr>
              <a:t>Bigiarini</a:t>
            </a:r>
            <a:r>
              <a:rPr lang="en-US" sz="1100" b="0" i="0">
                <a:solidFill>
                  <a:srgbClr val="222222"/>
                </a:solidFill>
                <a:effectLst/>
                <a:latin typeface="Arial"/>
                <a:cs typeface="Arial"/>
              </a:rPr>
              <a:t>, M., Beck, H. E., McNamara, I., Ribbe, L., </a:t>
            </a:r>
            <a:r>
              <a:rPr lang="en-US" sz="1100" b="0" i="0" err="1">
                <a:solidFill>
                  <a:srgbClr val="222222"/>
                </a:solidFill>
                <a:effectLst/>
                <a:latin typeface="Arial"/>
                <a:cs typeface="Arial"/>
              </a:rPr>
              <a:t>Nauditt</a:t>
            </a:r>
            <a:r>
              <a:rPr lang="en-US" sz="1100" b="0" i="0">
                <a:solidFill>
                  <a:srgbClr val="222222"/>
                </a:solidFill>
                <a:effectLst/>
                <a:latin typeface="Arial"/>
                <a:cs typeface="Arial"/>
              </a:rPr>
              <a:t>, A., ... &amp; Thinh, N. X. (2020). RF-MEP: A novel Random Forest method for merging gridded precipitation products and ground-based measurements. </a:t>
            </a:r>
            <a:r>
              <a:rPr lang="en-US" sz="1100" b="0" i="1">
                <a:solidFill>
                  <a:srgbClr val="222222"/>
                </a:solidFill>
                <a:effectLst/>
                <a:latin typeface="Arial"/>
                <a:cs typeface="Arial"/>
              </a:rPr>
              <a:t>Remote Sensing of Environment</a:t>
            </a:r>
            <a:r>
              <a:rPr lang="en-US" sz="1100" b="0" i="0">
                <a:solidFill>
                  <a:srgbClr val="222222"/>
                </a:solidFill>
                <a:effectLst/>
                <a:latin typeface="Arial"/>
                <a:cs typeface="Arial"/>
              </a:rPr>
              <a:t>, </a:t>
            </a:r>
            <a:r>
              <a:rPr lang="en-US" sz="1100" b="0" i="1">
                <a:solidFill>
                  <a:srgbClr val="222222"/>
                </a:solidFill>
                <a:effectLst/>
                <a:latin typeface="Arial"/>
                <a:cs typeface="Arial"/>
              </a:rPr>
              <a:t>239</a:t>
            </a:r>
            <a:r>
              <a:rPr lang="en-US" sz="1100" b="0" i="0">
                <a:solidFill>
                  <a:srgbClr val="222222"/>
                </a:solidFill>
                <a:effectLst/>
                <a:latin typeface="Arial"/>
                <a:cs typeface="Arial"/>
              </a:rPr>
              <a:t>, 111606.</a:t>
            </a:r>
          </a:p>
          <a:p>
            <a:pPr marL="800100" lvl="1" indent="-342900">
              <a:lnSpc>
                <a:spcPct val="150000"/>
              </a:lnSpc>
              <a:buFont typeface="+mj-lt"/>
              <a:buAutoNum type="arabicPeriod"/>
            </a:pPr>
            <a:r>
              <a:rPr lang="en-US" sz="1100" b="0" i="0">
                <a:solidFill>
                  <a:srgbClr val="222222"/>
                </a:solidFill>
                <a:effectLst/>
                <a:latin typeface="Arial"/>
                <a:cs typeface="Arial"/>
              </a:rPr>
              <a:t>Chen, C., Hu, B., &amp; Li, Y. (2021). Easy-to-use spatial random-forest-based downscaling-calibration method for producing precipitation data with high resolution and high accuracy. </a:t>
            </a:r>
            <a:r>
              <a:rPr lang="en-US" sz="1100" b="0" i="1">
                <a:solidFill>
                  <a:srgbClr val="222222"/>
                </a:solidFill>
                <a:effectLst/>
                <a:latin typeface="Arial"/>
                <a:cs typeface="Arial"/>
              </a:rPr>
              <a:t>Hydrology and Earth System Sciences</a:t>
            </a:r>
            <a:r>
              <a:rPr lang="en-US" sz="1100" b="0" i="0">
                <a:solidFill>
                  <a:srgbClr val="222222"/>
                </a:solidFill>
                <a:effectLst/>
                <a:latin typeface="Arial"/>
                <a:cs typeface="Arial"/>
              </a:rPr>
              <a:t>, </a:t>
            </a:r>
            <a:r>
              <a:rPr lang="en-US" sz="1100" b="0" i="1">
                <a:solidFill>
                  <a:srgbClr val="222222"/>
                </a:solidFill>
                <a:effectLst/>
                <a:latin typeface="Arial"/>
                <a:cs typeface="Arial"/>
              </a:rPr>
              <a:t>25</a:t>
            </a:r>
            <a:r>
              <a:rPr lang="en-US" sz="1100" b="0" i="0">
                <a:solidFill>
                  <a:srgbClr val="222222"/>
                </a:solidFill>
                <a:effectLst/>
                <a:latin typeface="Arial"/>
                <a:cs typeface="Arial"/>
              </a:rPr>
              <a:t>(11), 5667-5682.</a:t>
            </a:r>
            <a:endParaRPr lang="en-US" sz="1100">
              <a:solidFill>
                <a:srgbClr val="222222"/>
              </a:solidFill>
              <a:latin typeface="Arial"/>
              <a:cs typeface="Arial"/>
            </a:endParaRPr>
          </a:p>
          <a:p>
            <a:pPr marL="800100" lvl="1" indent="-342900">
              <a:lnSpc>
                <a:spcPct val="150000"/>
              </a:lnSpc>
              <a:buFont typeface="+mj-lt"/>
              <a:buAutoNum type="arabicPeriod"/>
            </a:pPr>
            <a:r>
              <a:rPr lang="en-US" sz="1100" b="0" i="0">
                <a:solidFill>
                  <a:srgbClr val="222222"/>
                </a:solidFill>
                <a:effectLst/>
                <a:latin typeface="Arial"/>
                <a:cs typeface="Arial"/>
              </a:rPr>
              <a:t>Gonzalez, C. A. G. (2023). DL4DS—Deep learning for empirical downscaling. </a:t>
            </a:r>
            <a:r>
              <a:rPr lang="en-US" sz="1100" b="0" i="1">
                <a:solidFill>
                  <a:srgbClr val="222222"/>
                </a:solidFill>
                <a:effectLst/>
                <a:latin typeface="Arial"/>
                <a:cs typeface="Arial"/>
              </a:rPr>
              <a:t>Environmental Data Science</a:t>
            </a:r>
            <a:r>
              <a:rPr lang="en-US" sz="1100" b="0" i="0">
                <a:solidFill>
                  <a:srgbClr val="222222"/>
                </a:solidFill>
                <a:effectLst/>
                <a:latin typeface="Arial"/>
                <a:cs typeface="Arial"/>
              </a:rPr>
              <a:t>, </a:t>
            </a:r>
            <a:r>
              <a:rPr lang="en-US" sz="1100" b="0" i="1">
                <a:solidFill>
                  <a:srgbClr val="222222"/>
                </a:solidFill>
                <a:effectLst/>
                <a:latin typeface="Arial"/>
                <a:cs typeface="Arial"/>
              </a:rPr>
              <a:t>2</a:t>
            </a:r>
            <a:r>
              <a:rPr lang="en-US" sz="1100" b="0" i="0">
                <a:solidFill>
                  <a:srgbClr val="222222"/>
                </a:solidFill>
                <a:effectLst/>
                <a:latin typeface="Arial"/>
                <a:cs typeface="Arial"/>
              </a:rPr>
              <a:t>, e3.</a:t>
            </a:r>
            <a:endParaRPr lang="en-US" sz="1200">
              <a:latin typeface="Arial"/>
              <a:cs typeface="Arial"/>
            </a:endParaRPr>
          </a:p>
          <a:p>
            <a:pPr marL="800100" lvl="1" indent="-342900">
              <a:lnSpc>
                <a:spcPct val="150000"/>
              </a:lnSpc>
              <a:buFont typeface="+mj-lt"/>
              <a:buAutoNum type="arabicPeriod"/>
            </a:pPr>
            <a:r>
              <a:rPr lang="en-US" sz="1200">
                <a:latin typeface="Arial"/>
                <a:cs typeface="Arial"/>
              </a:rPr>
              <a:t>Li, X., Li, Z., Huang, W., &amp; Zhou, P. (2020). Performance of statistical and machine learning ensembles for daily temperature downscaling. Theoretical and Applied Climatology, 140, 571-588.</a:t>
            </a:r>
          </a:p>
          <a:p>
            <a:pPr marL="800100" lvl="1" indent="-342900">
              <a:lnSpc>
                <a:spcPct val="150000"/>
              </a:lnSpc>
              <a:buFont typeface="+mj-lt"/>
              <a:buAutoNum type="arabicPeriod"/>
            </a:pPr>
            <a:r>
              <a:rPr lang="en-US" sz="1100" b="0" i="0">
                <a:solidFill>
                  <a:srgbClr val="222222"/>
                </a:solidFill>
                <a:effectLst/>
                <a:latin typeface="Arial"/>
                <a:cs typeface="Arial"/>
              </a:rPr>
              <a:t>Sha, Y., Gagne II, D. J., West, G., &amp; Stull, R. (2020). Deep-learning-based gridded downscaling of surface meteorological variables in complex terrain. Part I: Daily maximum and minimum 2-m temperature. </a:t>
            </a:r>
            <a:r>
              <a:rPr lang="en-US" sz="1100" b="0" i="1">
                <a:solidFill>
                  <a:srgbClr val="222222"/>
                </a:solidFill>
                <a:effectLst/>
                <a:latin typeface="Arial"/>
                <a:cs typeface="Arial"/>
              </a:rPr>
              <a:t>Journal of Applied Meteorology and Climatology</a:t>
            </a:r>
            <a:r>
              <a:rPr lang="en-US" sz="1100" b="0" i="0">
                <a:solidFill>
                  <a:srgbClr val="222222"/>
                </a:solidFill>
                <a:effectLst/>
                <a:latin typeface="Arial"/>
                <a:cs typeface="Arial"/>
              </a:rPr>
              <a:t>, </a:t>
            </a:r>
            <a:r>
              <a:rPr lang="en-US" sz="1100" b="0" i="1">
                <a:solidFill>
                  <a:srgbClr val="222222"/>
                </a:solidFill>
                <a:effectLst/>
                <a:latin typeface="Arial"/>
                <a:cs typeface="Arial"/>
              </a:rPr>
              <a:t>59</a:t>
            </a:r>
            <a:r>
              <a:rPr lang="en-US" sz="1100" b="0" i="0">
                <a:solidFill>
                  <a:srgbClr val="222222"/>
                </a:solidFill>
                <a:effectLst/>
                <a:latin typeface="Arial"/>
                <a:cs typeface="Arial"/>
              </a:rPr>
              <a:t>(12), 2057-2073.</a:t>
            </a:r>
          </a:p>
          <a:p>
            <a:pPr marL="800100" lvl="1" indent="-342900">
              <a:lnSpc>
                <a:spcPct val="150000"/>
              </a:lnSpc>
              <a:buFont typeface="+mj-lt"/>
              <a:buAutoNum type="arabicPeriod"/>
            </a:pPr>
            <a:r>
              <a:rPr lang="en-US" sz="1100" b="0" i="0">
                <a:solidFill>
                  <a:srgbClr val="222222"/>
                </a:solidFill>
                <a:effectLst/>
                <a:latin typeface="Arial"/>
                <a:cs typeface="Arial"/>
              </a:rPr>
              <a:t>Sha, Y., Gagne II, D. J., West, G., &amp; Stull, R. (2020). Deep-learning-based gridded downscaling of surface meteorological variables in complex terrain. Part II: Daily precipitation. </a:t>
            </a:r>
            <a:r>
              <a:rPr lang="en-US" sz="1100" b="0" i="1">
                <a:solidFill>
                  <a:srgbClr val="222222"/>
                </a:solidFill>
                <a:effectLst/>
                <a:latin typeface="Arial"/>
                <a:cs typeface="Arial"/>
              </a:rPr>
              <a:t>Journal of Applied Meteorology and Climatology</a:t>
            </a:r>
            <a:r>
              <a:rPr lang="en-US" sz="1100" b="0" i="0">
                <a:solidFill>
                  <a:srgbClr val="222222"/>
                </a:solidFill>
                <a:effectLst/>
                <a:latin typeface="Arial"/>
                <a:cs typeface="Arial"/>
              </a:rPr>
              <a:t>, </a:t>
            </a:r>
            <a:r>
              <a:rPr lang="en-US" sz="1100" b="0" i="1">
                <a:solidFill>
                  <a:srgbClr val="222222"/>
                </a:solidFill>
                <a:effectLst/>
                <a:latin typeface="Arial"/>
                <a:cs typeface="Arial"/>
              </a:rPr>
              <a:t>59</a:t>
            </a:r>
            <a:r>
              <a:rPr lang="en-US" sz="1100" b="0" i="0">
                <a:solidFill>
                  <a:srgbClr val="222222"/>
                </a:solidFill>
                <a:effectLst/>
                <a:latin typeface="Arial"/>
                <a:cs typeface="Arial"/>
              </a:rPr>
              <a:t>(12), 2075-2092.</a:t>
            </a:r>
          </a:p>
          <a:p>
            <a:pPr marL="800100" lvl="1" indent="-342900">
              <a:lnSpc>
                <a:spcPct val="150000"/>
              </a:lnSpc>
              <a:buFont typeface="+mj-lt"/>
              <a:buAutoNum type="arabicPeriod"/>
            </a:pPr>
            <a:r>
              <a:rPr lang="en-US" sz="1100" b="0" i="0">
                <a:solidFill>
                  <a:srgbClr val="222222"/>
                </a:solidFill>
                <a:effectLst/>
                <a:latin typeface="Arial"/>
                <a:cs typeface="Arial"/>
              </a:rPr>
              <a:t>Wang, F., Tian, D., &amp; Carroll, M. (2023). Customized deep learning for precipitation bias correction and downscaling. </a:t>
            </a:r>
            <a:r>
              <a:rPr lang="en-US" sz="1100" b="0" i="1">
                <a:solidFill>
                  <a:srgbClr val="222222"/>
                </a:solidFill>
                <a:effectLst/>
                <a:latin typeface="Arial"/>
                <a:cs typeface="Arial"/>
              </a:rPr>
              <a:t>Geoscientific Model Development</a:t>
            </a:r>
            <a:r>
              <a:rPr lang="en-US" sz="1100" b="0" i="0">
                <a:solidFill>
                  <a:srgbClr val="222222"/>
                </a:solidFill>
                <a:effectLst/>
                <a:latin typeface="Arial"/>
                <a:cs typeface="Arial"/>
              </a:rPr>
              <a:t>, </a:t>
            </a:r>
            <a:r>
              <a:rPr lang="en-US" sz="1100" b="0" i="1">
                <a:solidFill>
                  <a:srgbClr val="222222"/>
                </a:solidFill>
                <a:effectLst/>
                <a:latin typeface="Arial"/>
                <a:cs typeface="Arial"/>
              </a:rPr>
              <a:t>16</a:t>
            </a:r>
            <a:r>
              <a:rPr lang="en-US" sz="1100" b="0" i="0">
                <a:solidFill>
                  <a:srgbClr val="222222"/>
                </a:solidFill>
                <a:effectLst/>
                <a:latin typeface="Arial"/>
                <a:cs typeface="Arial"/>
              </a:rPr>
              <a:t>(2), 535-556.</a:t>
            </a:r>
          </a:p>
          <a:p>
            <a:pPr marL="800100" lvl="1" indent="-342900">
              <a:lnSpc>
                <a:spcPct val="150000"/>
              </a:lnSpc>
              <a:buFont typeface="+mj-lt"/>
              <a:buAutoNum type="arabicPeriod"/>
            </a:pPr>
            <a:r>
              <a:rPr lang="en-US" sz="1100" b="0" i="0">
                <a:solidFill>
                  <a:srgbClr val="222222"/>
                </a:solidFill>
                <a:effectLst/>
                <a:latin typeface="Arial"/>
                <a:cs typeface="Arial"/>
              </a:rPr>
              <a:t>Sun, A. Y., &amp; Tang, G. (2020). Downscaling satellite and reanalysis precipitation products using attention-based deep convolutional neural nets. </a:t>
            </a:r>
            <a:r>
              <a:rPr lang="en-US" sz="1100" b="0" i="1">
                <a:solidFill>
                  <a:srgbClr val="222222"/>
                </a:solidFill>
                <a:effectLst/>
                <a:latin typeface="Arial"/>
                <a:cs typeface="Arial"/>
              </a:rPr>
              <a:t>Frontiers in Water</a:t>
            </a:r>
            <a:r>
              <a:rPr lang="en-US" sz="1100" b="0" i="0">
                <a:solidFill>
                  <a:srgbClr val="222222"/>
                </a:solidFill>
                <a:effectLst/>
                <a:latin typeface="Arial"/>
                <a:cs typeface="Arial"/>
              </a:rPr>
              <a:t>, </a:t>
            </a:r>
            <a:r>
              <a:rPr lang="en-US" sz="1100" b="0" i="1">
                <a:solidFill>
                  <a:srgbClr val="222222"/>
                </a:solidFill>
                <a:effectLst/>
                <a:latin typeface="Arial"/>
                <a:cs typeface="Arial"/>
              </a:rPr>
              <a:t>2</a:t>
            </a:r>
            <a:r>
              <a:rPr lang="en-US" sz="1100" b="0" i="0">
                <a:solidFill>
                  <a:srgbClr val="222222"/>
                </a:solidFill>
                <a:effectLst/>
                <a:latin typeface="Arial"/>
                <a:cs typeface="Arial"/>
              </a:rPr>
              <a:t>, 536743.</a:t>
            </a:r>
          </a:p>
        </p:txBody>
      </p:sp>
    </p:spTree>
    <p:extLst>
      <p:ext uri="{BB962C8B-B14F-4D97-AF65-F5344CB8AC3E}">
        <p14:creationId xmlns:p14="http://schemas.microsoft.com/office/powerpoint/2010/main" val="30788753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DL Model Results : </a:t>
            </a:r>
            <a:r>
              <a:rPr lang="en-US" sz="4000" b="1" i="1" u="sng">
                <a:solidFill>
                  <a:schemeClr val="accent1">
                    <a:lumMod val="50000"/>
                  </a:schemeClr>
                </a:solidFill>
                <a:latin typeface="Calibri Light" panose="020F0302020204030204" pitchFamily="34" charset="0"/>
              </a:rPr>
              <a:t>Training Time Performance</a:t>
            </a:r>
            <a:endParaRPr lang="en-US" sz="4000" b="1" i="1" u="sng">
              <a:solidFill>
                <a:schemeClr val="accent1">
                  <a:lumMod val="50000"/>
                </a:schemeClr>
              </a:solidFill>
            </a:endParaRPr>
          </a:p>
        </p:txBody>
      </p:sp>
      <p:graphicFrame>
        <p:nvGraphicFramePr>
          <p:cNvPr id="3" name="Table 3">
            <a:extLst>
              <a:ext uri="{FF2B5EF4-FFF2-40B4-BE49-F238E27FC236}">
                <a16:creationId xmlns:a16="http://schemas.microsoft.com/office/drawing/2014/main" id="{2F7E60F5-2651-E457-BA6A-2FB22CF29CDA}"/>
              </a:ext>
            </a:extLst>
          </p:cNvPr>
          <p:cNvGraphicFramePr>
            <a:graphicFrameLocks noGrp="1"/>
          </p:cNvGraphicFramePr>
          <p:nvPr>
            <p:extLst>
              <p:ext uri="{D42A27DB-BD31-4B8C-83A1-F6EECF244321}">
                <p14:modId xmlns:p14="http://schemas.microsoft.com/office/powerpoint/2010/main" val="4066190003"/>
              </p:ext>
            </p:extLst>
          </p:nvPr>
        </p:nvGraphicFramePr>
        <p:xfrm>
          <a:off x="966055" y="1325888"/>
          <a:ext cx="10612235" cy="2952017"/>
        </p:xfrm>
        <a:graphic>
          <a:graphicData uri="http://schemas.openxmlformats.org/drawingml/2006/table">
            <a:tbl>
              <a:tblPr firstRow="1" bandRow="1">
                <a:tableStyleId>{1FECB4D8-DB02-4DC6-A0A2-4F2EBAE1DC90}</a:tableStyleId>
              </a:tblPr>
              <a:tblGrid>
                <a:gridCol w="2122447">
                  <a:extLst>
                    <a:ext uri="{9D8B030D-6E8A-4147-A177-3AD203B41FA5}">
                      <a16:colId xmlns:a16="http://schemas.microsoft.com/office/drawing/2014/main" val="1009379661"/>
                    </a:ext>
                  </a:extLst>
                </a:gridCol>
                <a:gridCol w="2122447">
                  <a:extLst>
                    <a:ext uri="{9D8B030D-6E8A-4147-A177-3AD203B41FA5}">
                      <a16:colId xmlns:a16="http://schemas.microsoft.com/office/drawing/2014/main" val="197472878"/>
                    </a:ext>
                  </a:extLst>
                </a:gridCol>
                <a:gridCol w="2122447">
                  <a:extLst>
                    <a:ext uri="{9D8B030D-6E8A-4147-A177-3AD203B41FA5}">
                      <a16:colId xmlns:a16="http://schemas.microsoft.com/office/drawing/2014/main" val="4054881987"/>
                    </a:ext>
                  </a:extLst>
                </a:gridCol>
                <a:gridCol w="2122447">
                  <a:extLst>
                    <a:ext uri="{9D8B030D-6E8A-4147-A177-3AD203B41FA5}">
                      <a16:colId xmlns:a16="http://schemas.microsoft.com/office/drawing/2014/main" val="1211149317"/>
                    </a:ext>
                  </a:extLst>
                </a:gridCol>
                <a:gridCol w="2122447">
                  <a:extLst>
                    <a:ext uri="{9D8B030D-6E8A-4147-A177-3AD203B41FA5}">
                      <a16:colId xmlns:a16="http://schemas.microsoft.com/office/drawing/2014/main" val="2203488900"/>
                    </a:ext>
                  </a:extLst>
                </a:gridCol>
              </a:tblGrid>
              <a:tr h="951105">
                <a:tc>
                  <a:txBody>
                    <a:bodyPr/>
                    <a:lstStyle/>
                    <a:p>
                      <a:pPr algn="ctr"/>
                      <a:r>
                        <a:rPr lang="en-US" sz="1400">
                          <a:solidFill>
                            <a:schemeClr val="tx1"/>
                          </a:solidFill>
                        </a:rPr>
                        <a:t>Vari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Days in training d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LGBM training time (minu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LGBM training time</a:t>
                      </a:r>
                    </a:p>
                    <a:p>
                      <a:pPr algn="ctr"/>
                      <a:r>
                        <a:rPr lang="en-US" sz="1400">
                          <a:solidFill>
                            <a:schemeClr val="tx1"/>
                          </a:solidFill>
                        </a:rPr>
                        <a:t>with hyperparameter </a:t>
                      </a:r>
                    </a:p>
                    <a:p>
                      <a:pPr algn="ctr"/>
                      <a:r>
                        <a:rPr lang="en-US" sz="1400">
                          <a:solidFill>
                            <a:schemeClr val="tx1"/>
                          </a:solidFill>
                        </a:rPr>
                        <a:t>tuning (minu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Deep Learning  training time</a:t>
                      </a:r>
                    </a:p>
                    <a:p>
                      <a:pPr algn="ctr"/>
                      <a:r>
                        <a:rPr lang="en-US" sz="1400">
                          <a:solidFill>
                            <a:schemeClr val="tx1"/>
                          </a:solidFill>
                        </a:rPr>
                        <a:t>(minu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9218541"/>
                  </a:ext>
                </a:extLst>
              </a:tr>
              <a:tr h="482296">
                <a:tc>
                  <a:txBody>
                    <a:bodyPr/>
                    <a:lstStyle/>
                    <a:p>
                      <a:pPr algn="ctr"/>
                      <a:r>
                        <a:rPr lang="en-US" sz="1400">
                          <a:solidFill>
                            <a:schemeClr val="tx1"/>
                          </a:solidFill>
                        </a:rPr>
                        <a:t>Max Tempera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11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42 </a:t>
                      </a:r>
                    </a:p>
                    <a:p>
                      <a:pPr algn="ctr"/>
                      <a:r>
                        <a:rPr lang="en-US" sz="1400">
                          <a:solidFill>
                            <a:schemeClr val="tx1"/>
                          </a:solidFill>
                        </a:rPr>
                        <a:t>for 63 epoc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9268903"/>
                  </a:ext>
                </a:extLst>
              </a:tr>
              <a:tr h="482296">
                <a:tc>
                  <a:txBody>
                    <a:bodyPr/>
                    <a:lstStyle/>
                    <a:p>
                      <a:pPr algn="ctr"/>
                      <a:r>
                        <a:rPr lang="en-US" sz="1400">
                          <a:solidFill>
                            <a:schemeClr val="tx1"/>
                          </a:solidFill>
                        </a:rPr>
                        <a:t>Min Tempera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11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9366764"/>
                  </a:ext>
                </a:extLst>
              </a:tr>
              <a:tr h="482296">
                <a:tc>
                  <a:txBody>
                    <a:bodyPr/>
                    <a:lstStyle/>
                    <a:p>
                      <a:pPr algn="ctr"/>
                      <a:r>
                        <a:rPr lang="en-US" sz="1400">
                          <a:solidFill>
                            <a:schemeClr val="tx1"/>
                          </a:solidFill>
                        </a:rPr>
                        <a:t>Avg. Wind Spe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2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2843891"/>
                  </a:ext>
                </a:extLst>
              </a:tr>
              <a:tr h="482296">
                <a:tc>
                  <a:txBody>
                    <a:bodyPr/>
                    <a:lstStyle/>
                    <a:p>
                      <a:pPr algn="ctr"/>
                      <a:r>
                        <a:rPr lang="en-US" sz="1400">
                          <a:solidFill>
                            <a:schemeClr val="tx1"/>
                          </a:solidFill>
                        </a:rPr>
                        <a:t>Total precipit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1628 (LGBM)</a:t>
                      </a:r>
                    </a:p>
                    <a:p>
                      <a:pPr algn="ctr"/>
                      <a:r>
                        <a:rPr lang="en-US" sz="1400">
                          <a:solidFill>
                            <a:schemeClr val="tx1"/>
                          </a:solidFill>
                        </a:rPr>
                        <a:t>1356 (D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0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7.9</a:t>
                      </a:r>
                    </a:p>
                    <a:p>
                      <a:pPr algn="ctr"/>
                      <a:r>
                        <a:rPr lang="en-US" sz="1400">
                          <a:solidFill>
                            <a:schemeClr val="tx1"/>
                          </a:solidFill>
                        </a:rPr>
                        <a:t>for 60 epoc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2413712"/>
                  </a:ext>
                </a:extLst>
              </a:tr>
            </a:tbl>
          </a:graphicData>
        </a:graphic>
      </p:graphicFrame>
      <p:sp>
        <p:nvSpPr>
          <p:cNvPr id="4" name="TextBox 3">
            <a:extLst>
              <a:ext uri="{FF2B5EF4-FFF2-40B4-BE49-F238E27FC236}">
                <a16:creationId xmlns:a16="http://schemas.microsoft.com/office/drawing/2014/main" id="{E2FFE966-41BB-FE13-4FE7-E23C85432A77}"/>
              </a:ext>
            </a:extLst>
          </p:cNvPr>
          <p:cNvSpPr txBox="1"/>
          <p:nvPr/>
        </p:nvSpPr>
        <p:spPr>
          <a:xfrm>
            <a:off x="865388" y="4362018"/>
            <a:ext cx="10507462" cy="738664"/>
          </a:xfrm>
          <a:prstGeom prst="rect">
            <a:avLst/>
          </a:prstGeom>
          <a:noFill/>
        </p:spPr>
        <p:txBody>
          <a:bodyPr wrap="square" rtlCol="0">
            <a:spAutoFit/>
          </a:bodyPr>
          <a:lstStyle/>
          <a:p>
            <a:r>
              <a:rPr lang="en-US" sz="1400" b="1"/>
              <a:t>*** </a:t>
            </a:r>
            <a:r>
              <a:rPr lang="en-US" sz="1400"/>
              <a:t>Tuned LGBM model for 09 hyperparameters with 10-fold Randomized CV. A total of 500 combinations of hyperparameters were tested.</a:t>
            </a:r>
          </a:p>
          <a:p>
            <a:r>
              <a:rPr lang="en-US" sz="1400" b="1"/>
              <a:t>**</a:t>
            </a:r>
            <a:r>
              <a:rPr lang="en-US" sz="1400"/>
              <a:t> For LGBM, used instance ml.m5.4xlarge</a:t>
            </a:r>
          </a:p>
          <a:p>
            <a:r>
              <a:rPr lang="en-US" sz="1400"/>
              <a:t>*   For DL, used instance ml.p3.2xlage</a:t>
            </a:r>
          </a:p>
        </p:txBody>
      </p:sp>
      <p:sp>
        <p:nvSpPr>
          <p:cNvPr id="2" name="Slide Number Placeholder 1">
            <a:extLst>
              <a:ext uri="{FF2B5EF4-FFF2-40B4-BE49-F238E27FC236}">
                <a16:creationId xmlns:a16="http://schemas.microsoft.com/office/drawing/2014/main" id="{04FB52FD-279C-3A62-1E73-A9CC0CA096CD}"/>
              </a:ext>
            </a:extLst>
          </p:cNvPr>
          <p:cNvSpPr>
            <a:spLocks noGrp="1"/>
          </p:cNvSpPr>
          <p:nvPr>
            <p:ph type="sldNum" sz="quarter" idx="12"/>
          </p:nvPr>
        </p:nvSpPr>
        <p:spPr/>
        <p:txBody>
          <a:bodyPr/>
          <a:lstStyle/>
          <a:p>
            <a:fld id="{EEAD9179-7A6B-4268-BEB2-F3B8EB06115B}" type="slidenum">
              <a:rPr lang="en-US" noProof="0" dirty="0" smtClean="0"/>
              <a:t>45</a:t>
            </a:fld>
            <a:endParaRPr lang="en-US" noProof="0"/>
          </a:p>
        </p:txBody>
      </p:sp>
    </p:spTree>
    <p:extLst>
      <p:ext uri="{BB962C8B-B14F-4D97-AF65-F5344CB8AC3E}">
        <p14:creationId xmlns:p14="http://schemas.microsoft.com/office/powerpoint/2010/main" val="1519544032"/>
      </p:ext>
    </p:extLst>
  </p:cSld>
  <p:clrMapOvr>
    <a:masterClrMapping/>
  </p:clrMapOvr>
  <p:extLst>
    <p:ext uri="{6950BFC3-D8DA-4A85-94F7-54DA5524770B}">
      <p188:commentRel xmlns:p188="http://schemas.microsoft.com/office/powerpoint/2018/8/main" r:id="rId2"/>
    </p:ext>
  </p:extLs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107346" y="348479"/>
            <a:ext cx="3484228"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LightGBM</a:t>
            </a:r>
            <a:endParaRPr lang="en-US" sz="4000" i="1" u="sng">
              <a:solidFill>
                <a:schemeClr val="accent1">
                  <a:lumMod val="50000"/>
                </a:schemeClr>
              </a:solidFill>
            </a:endParaRPr>
          </a:p>
        </p:txBody>
      </p:sp>
      <p:sp>
        <p:nvSpPr>
          <p:cNvPr id="2" name="TextBox 1">
            <a:extLst>
              <a:ext uri="{FF2B5EF4-FFF2-40B4-BE49-F238E27FC236}">
                <a16:creationId xmlns:a16="http://schemas.microsoft.com/office/drawing/2014/main" id="{D7F0CE40-FD58-2883-D94E-AB5BE1E84661}"/>
              </a:ext>
            </a:extLst>
          </p:cNvPr>
          <p:cNvSpPr txBox="1"/>
          <p:nvPr/>
        </p:nvSpPr>
        <p:spPr>
          <a:xfrm>
            <a:off x="1015067" y="1112586"/>
            <a:ext cx="5908247" cy="5554726"/>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en-US"/>
              <a:t>A library implementing Decision Tree type machine learning models.</a:t>
            </a:r>
          </a:p>
          <a:p>
            <a:pPr marL="285750" indent="-285750">
              <a:lnSpc>
                <a:spcPct val="200000"/>
              </a:lnSpc>
              <a:buFont typeface="Wingdings" panose="05000000000000000000" pitchFamily="2" charset="2"/>
              <a:buChar char="§"/>
            </a:pPr>
            <a:r>
              <a:rPr lang="en-US"/>
              <a:t>Uses </a:t>
            </a:r>
            <a:r>
              <a:rPr lang="en-US">
                <a:solidFill>
                  <a:srgbClr val="00B0F0"/>
                </a:solidFill>
              </a:rPr>
              <a:t>‘Boosting’ </a:t>
            </a:r>
            <a:r>
              <a:rPr lang="en-US"/>
              <a:t>instead of </a:t>
            </a:r>
            <a:r>
              <a:rPr lang="en-US">
                <a:solidFill>
                  <a:srgbClr val="00B0F0"/>
                </a:solidFill>
              </a:rPr>
              <a:t>‘Bagging’</a:t>
            </a:r>
            <a:r>
              <a:rPr lang="en-US"/>
              <a:t>.</a:t>
            </a:r>
          </a:p>
          <a:p>
            <a:pPr marL="285750" indent="-285750">
              <a:lnSpc>
                <a:spcPct val="200000"/>
              </a:lnSpc>
              <a:buFont typeface="Wingdings" panose="05000000000000000000" pitchFamily="2" charset="2"/>
              <a:buChar char="§"/>
            </a:pPr>
            <a:r>
              <a:rPr lang="en-US"/>
              <a:t>More hyperparameters available to handle overfitting.</a:t>
            </a:r>
            <a:endParaRPr lang="en-US">
              <a:hlinkClick r:id="rId2"/>
            </a:endParaRPr>
          </a:p>
          <a:p>
            <a:pPr marL="285750" indent="-285750">
              <a:lnSpc>
                <a:spcPct val="200000"/>
              </a:lnSpc>
              <a:buFont typeface="Wingdings" panose="05000000000000000000" pitchFamily="2" charset="2"/>
              <a:buChar char="§"/>
            </a:pPr>
            <a:r>
              <a:rPr lang="en-US"/>
              <a:t>Very fast, low memory usage for large datasets.</a:t>
            </a:r>
          </a:p>
          <a:p>
            <a:pPr marL="285750" indent="-285750">
              <a:lnSpc>
                <a:spcPct val="200000"/>
              </a:lnSpc>
              <a:buFont typeface="Wingdings" panose="05000000000000000000" pitchFamily="2" charset="2"/>
              <a:buChar char="§"/>
            </a:pPr>
            <a:r>
              <a:rPr lang="en-US"/>
              <a:t>Supports parallel, distributed, and GPU learning.</a:t>
            </a:r>
          </a:p>
          <a:p>
            <a:pPr marL="285750" indent="-285750">
              <a:lnSpc>
                <a:spcPct val="200000"/>
              </a:lnSpc>
              <a:buFont typeface="Wingdings" panose="05000000000000000000" pitchFamily="2" charset="2"/>
              <a:buChar char="§"/>
            </a:pPr>
            <a:r>
              <a:rPr lang="en-US"/>
              <a:t>Better performance than RF if properly tuned.</a:t>
            </a:r>
            <a:endParaRPr lang="en-US">
              <a:hlinkClick r:id="rId2"/>
            </a:endParaRPr>
          </a:p>
          <a:p>
            <a:pPr marL="285750" indent="-285750">
              <a:lnSpc>
                <a:spcPct val="200000"/>
              </a:lnSpc>
              <a:buFont typeface="Wingdings" panose="05000000000000000000" pitchFamily="2" charset="2"/>
              <a:buChar char="§"/>
            </a:pPr>
            <a:r>
              <a:rPr lang="en-US">
                <a:hlinkClick r:id="rId2"/>
              </a:rPr>
              <a:t>Gradient-based One-Side Sampling (GOSS)</a:t>
            </a:r>
            <a:r>
              <a:rPr lang="en-US"/>
              <a:t> algorithm: uses large gradients only for information gain. Doesn’t consider smaller gradients.</a:t>
            </a:r>
          </a:p>
        </p:txBody>
      </p:sp>
      <p:pic>
        <p:nvPicPr>
          <p:cNvPr id="4" name="Picture 3" descr="A diagram of a machine&#10;&#10;Description automatically generated">
            <a:extLst>
              <a:ext uri="{FF2B5EF4-FFF2-40B4-BE49-F238E27FC236}">
                <a16:creationId xmlns:a16="http://schemas.microsoft.com/office/drawing/2014/main" id="{1F3928B2-2EB8-90D8-00E2-DB5968469B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2162" y="1954636"/>
            <a:ext cx="5033744" cy="2828964"/>
          </a:xfrm>
          <a:prstGeom prst="rect">
            <a:avLst/>
          </a:prstGeom>
        </p:spPr>
      </p:pic>
      <p:sp>
        <p:nvSpPr>
          <p:cNvPr id="5" name="TextBox 4">
            <a:extLst>
              <a:ext uri="{FF2B5EF4-FFF2-40B4-BE49-F238E27FC236}">
                <a16:creationId xmlns:a16="http://schemas.microsoft.com/office/drawing/2014/main" id="{6A27386A-B57B-A363-CCC3-30DA88AE1FEE}"/>
              </a:ext>
            </a:extLst>
          </p:cNvPr>
          <p:cNvSpPr txBox="1"/>
          <p:nvPr/>
        </p:nvSpPr>
        <p:spPr>
          <a:xfrm>
            <a:off x="7242910" y="6144092"/>
            <a:ext cx="3514987" cy="523220"/>
          </a:xfrm>
          <a:prstGeom prst="rect">
            <a:avLst/>
          </a:prstGeom>
          <a:noFill/>
        </p:spPr>
        <p:txBody>
          <a:bodyPr wrap="square" rtlCol="0">
            <a:spAutoFit/>
          </a:bodyPr>
          <a:lstStyle/>
          <a:p>
            <a:r>
              <a:rPr lang="en-US" sz="1400"/>
              <a:t>Sources: </a:t>
            </a:r>
            <a:r>
              <a:rPr lang="en-US" sz="1400">
                <a:hlinkClick r:id="rId4"/>
              </a:rPr>
              <a:t>LightGBM</a:t>
            </a:r>
            <a:r>
              <a:rPr lang="en-US" sz="1400"/>
              <a:t>, </a:t>
            </a:r>
            <a:r>
              <a:rPr lang="en-US" sz="1400">
                <a:hlinkClick r:id="rId5"/>
              </a:rPr>
              <a:t>Medium</a:t>
            </a:r>
            <a:endParaRPr lang="en-US" sz="1400"/>
          </a:p>
          <a:p>
            <a:r>
              <a:rPr lang="en-US" sz="1400"/>
              <a:t>Figure Source: </a:t>
            </a:r>
            <a:r>
              <a:rPr lang="en-US" sz="1400">
                <a:hlinkClick r:id="rId6"/>
              </a:rPr>
              <a:t>Analytics Vidhya</a:t>
            </a:r>
            <a:endParaRPr lang="en-US" sz="1400"/>
          </a:p>
        </p:txBody>
      </p:sp>
      <p:sp>
        <p:nvSpPr>
          <p:cNvPr id="3" name="Slide Number Placeholder 2">
            <a:extLst>
              <a:ext uri="{FF2B5EF4-FFF2-40B4-BE49-F238E27FC236}">
                <a16:creationId xmlns:a16="http://schemas.microsoft.com/office/drawing/2014/main" id="{80EC1DD3-5F71-1BF9-3CE1-85B58A6ED042}"/>
              </a:ext>
            </a:extLst>
          </p:cNvPr>
          <p:cNvSpPr>
            <a:spLocks noGrp="1"/>
          </p:cNvSpPr>
          <p:nvPr>
            <p:ph type="sldNum" sz="quarter" idx="12"/>
          </p:nvPr>
        </p:nvSpPr>
        <p:spPr/>
        <p:txBody>
          <a:bodyPr/>
          <a:lstStyle/>
          <a:p>
            <a:fld id="{EEAD9179-7A6B-4268-BEB2-F3B8EB06115B}" type="slidenum">
              <a:rPr lang="en-US" noProof="0" dirty="0" smtClean="0"/>
              <a:t>46</a:t>
            </a:fld>
            <a:endParaRPr lang="en-US" noProof="0"/>
          </a:p>
        </p:txBody>
      </p:sp>
    </p:spTree>
    <p:extLst>
      <p:ext uri="{BB962C8B-B14F-4D97-AF65-F5344CB8AC3E}">
        <p14:creationId xmlns:p14="http://schemas.microsoft.com/office/powerpoint/2010/main" val="3556960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32166"/>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Business Motivation</a:t>
            </a:r>
          </a:p>
        </p:txBody>
      </p:sp>
      <p:pic>
        <p:nvPicPr>
          <p:cNvPr id="2" name="Picture 2">
            <a:extLst>
              <a:ext uri="{FF2B5EF4-FFF2-40B4-BE49-F238E27FC236}">
                <a16:creationId xmlns:a16="http://schemas.microsoft.com/office/drawing/2014/main" id="{DF1611CB-1404-889A-3365-5AD7BC3A97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4541" y="2128568"/>
            <a:ext cx="3882787" cy="357462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9F5EBE5-BF4F-6602-E462-2A211297793D}"/>
              </a:ext>
            </a:extLst>
          </p:cNvPr>
          <p:cNvSpPr txBox="1"/>
          <p:nvPr/>
        </p:nvSpPr>
        <p:spPr>
          <a:xfrm>
            <a:off x="6024776" y="1444084"/>
            <a:ext cx="2739990" cy="646331"/>
          </a:xfrm>
          <a:prstGeom prst="rect">
            <a:avLst/>
          </a:prstGeom>
          <a:noFill/>
        </p:spPr>
        <p:txBody>
          <a:bodyPr wrap="square" lIns="91440" tIns="45720" rIns="91440" bIns="45720" anchor="t">
            <a:spAutoFit/>
          </a:bodyPr>
          <a:lstStyle/>
          <a:p>
            <a:pPr algn="ctr"/>
            <a:r>
              <a:rPr lang="en-US">
                <a:latin typeface="Arial"/>
                <a:cs typeface="Arial"/>
              </a:rPr>
              <a:t>E</a:t>
            </a:r>
            <a:r>
              <a:rPr lang="en-US" sz="1800">
                <a:latin typeface="Arial"/>
                <a:cs typeface="Arial"/>
              </a:rPr>
              <a:t>nvironmental</a:t>
            </a:r>
            <a:r>
              <a:rPr lang="en-US">
                <a:latin typeface="Arial"/>
                <a:cs typeface="Arial"/>
              </a:rPr>
              <a:t> </a:t>
            </a:r>
            <a:endParaRPr lang="en-US" sz="1800">
              <a:latin typeface="Arial"/>
              <a:cs typeface="Arial"/>
            </a:endParaRPr>
          </a:p>
          <a:p>
            <a:pPr algn="ctr"/>
            <a:r>
              <a:rPr lang="en-US" sz="1800">
                <a:latin typeface="Arial"/>
                <a:cs typeface="Arial"/>
              </a:rPr>
              <a:t>Clustering App</a:t>
            </a:r>
            <a:endParaRPr lang="en-US">
              <a:latin typeface="Arial"/>
              <a:cs typeface="Arial"/>
            </a:endParaRPr>
          </a:p>
        </p:txBody>
      </p:sp>
      <p:graphicFrame>
        <p:nvGraphicFramePr>
          <p:cNvPr id="15" name="Diagram 14">
            <a:extLst>
              <a:ext uri="{FF2B5EF4-FFF2-40B4-BE49-F238E27FC236}">
                <a16:creationId xmlns:a16="http://schemas.microsoft.com/office/drawing/2014/main" id="{A1F61D02-76F0-6BAF-2680-6342F5A3100A}"/>
              </a:ext>
            </a:extLst>
          </p:cNvPr>
          <p:cNvGraphicFramePr/>
          <p:nvPr>
            <p:extLst>
              <p:ext uri="{D42A27DB-BD31-4B8C-83A1-F6EECF244321}">
                <p14:modId xmlns:p14="http://schemas.microsoft.com/office/powerpoint/2010/main" val="4252276354"/>
              </p:ext>
            </p:extLst>
          </p:nvPr>
        </p:nvGraphicFramePr>
        <p:xfrm>
          <a:off x="9557328" y="1376931"/>
          <a:ext cx="2605455" cy="516647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a:extLst>
              <a:ext uri="{FF2B5EF4-FFF2-40B4-BE49-F238E27FC236}">
                <a16:creationId xmlns:a16="http://schemas.microsoft.com/office/drawing/2014/main" id="{6CE70B44-3ABA-966C-1037-341F0E51DA50}"/>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5</a:t>
            </a:fld>
            <a:endParaRPr lang="en-US" noProof="0">
              <a:latin typeface="Arial"/>
              <a:cs typeface="Arial"/>
            </a:endParaRPr>
          </a:p>
        </p:txBody>
      </p:sp>
      <p:sp>
        <p:nvSpPr>
          <p:cNvPr id="8" name="TextBox 7">
            <a:extLst>
              <a:ext uri="{FF2B5EF4-FFF2-40B4-BE49-F238E27FC236}">
                <a16:creationId xmlns:a16="http://schemas.microsoft.com/office/drawing/2014/main" id="{B6129EBB-5BBC-0496-43B1-E5DD89BBC166}"/>
              </a:ext>
            </a:extLst>
          </p:cNvPr>
          <p:cNvSpPr txBox="1"/>
          <p:nvPr/>
        </p:nvSpPr>
        <p:spPr>
          <a:xfrm>
            <a:off x="772833" y="1269079"/>
            <a:ext cx="5035418" cy="535531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u="sng" dirty="0">
                <a:latin typeface="Arial"/>
                <a:cs typeface="Arial"/>
              </a:rPr>
              <a:t>Environmental Clustering App is developed by Veg R&amp;D APD </a:t>
            </a:r>
            <a:r>
              <a:rPr lang="en-US" dirty="0">
                <a:latin typeface="Arial"/>
                <a:cs typeface="Arial"/>
              </a:rPr>
              <a:t>to enable rapid, effective and scalable production of clustering maps across various crops and regions</a:t>
            </a:r>
          </a:p>
          <a:p>
            <a:pPr marL="285750" indent="-285750">
              <a:buFont typeface="Arial" panose="020B0604020202020204" pitchFamily="34" charset="0"/>
              <a:buChar char="•"/>
            </a:pPr>
            <a:endParaRPr lang="en-US" dirty="0">
              <a:latin typeface="Arial"/>
              <a:cs typeface="Arial"/>
            </a:endParaRPr>
          </a:p>
          <a:p>
            <a:pPr marL="285750" indent="-285750">
              <a:buFont typeface="Arial" panose="020B0604020202020204" pitchFamily="34" charset="0"/>
              <a:buChar char="•"/>
            </a:pPr>
            <a:r>
              <a:rPr lang="en-US" dirty="0">
                <a:latin typeface="Arial"/>
                <a:cs typeface="Arial"/>
              </a:rPr>
              <a:t>It unlocks potential business values and are used across Veg R&amp;D and in many other Bayer organizations</a:t>
            </a:r>
          </a:p>
          <a:p>
            <a:endParaRPr lang="en-US" sz="1800" dirty="0">
              <a:latin typeface="Arial"/>
              <a:cs typeface="Arial"/>
            </a:endParaRPr>
          </a:p>
          <a:p>
            <a:pPr marL="285750" indent="-285750">
              <a:buFont typeface="Arial" panose="020B0604020202020204" pitchFamily="34" charset="0"/>
              <a:buChar char="•"/>
            </a:pPr>
            <a:r>
              <a:rPr lang="en-US" sz="1800" dirty="0">
                <a:latin typeface="Arial"/>
                <a:cs typeface="Arial"/>
              </a:rPr>
              <a:t>Bottleneck for high-resolution long-term weather data:</a:t>
            </a:r>
            <a:r>
              <a:rPr lang="en-US" dirty="0">
                <a:latin typeface="Arial"/>
                <a:cs typeface="Arial"/>
              </a:rPr>
              <a:t> </a:t>
            </a:r>
          </a:p>
          <a:p>
            <a:pPr marL="742950" lvl="1" indent="-285750">
              <a:buFont typeface="Courier New" panose="02070309020205020404" pitchFamily="49" charset="0"/>
              <a:buChar char="o"/>
            </a:pPr>
            <a:r>
              <a:rPr lang="en-US" dirty="0">
                <a:latin typeface="Arial"/>
                <a:cs typeface="Arial"/>
              </a:rPr>
              <a:t>Low spatial resolution – long temporal records </a:t>
            </a:r>
          </a:p>
          <a:p>
            <a:pPr marL="742950" lvl="1" indent="-285750">
              <a:buFont typeface="Courier New" panose="02070309020205020404" pitchFamily="49" charset="0"/>
              <a:buChar char="o"/>
            </a:pPr>
            <a:r>
              <a:rPr lang="en-US" dirty="0">
                <a:latin typeface="Arial"/>
                <a:cs typeface="Arial"/>
              </a:rPr>
              <a:t>High spatial resolution – short temporal records </a:t>
            </a:r>
          </a:p>
          <a:p>
            <a:endParaRPr lang="en-US" dirty="0">
              <a:latin typeface="Arial"/>
              <a:cs typeface="Arial"/>
            </a:endParaRPr>
          </a:p>
          <a:p>
            <a:pPr marL="285750" indent="-285750">
              <a:buFont typeface="Arial" panose="020B0604020202020204" pitchFamily="34" charset="0"/>
              <a:buChar char="•"/>
            </a:pPr>
            <a:r>
              <a:rPr lang="en-US" u="sng" dirty="0">
                <a:latin typeface="Arial"/>
                <a:cs typeface="Arial"/>
              </a:rPr>
              <a:t>Solution: Machine Learning + spatial interpolation-based framework</a:t>
            </a:r>
            <a:r>
              <a:rPr lang="en-US" dirty="0">
                <a:latin typeface="Arial"/>
                <a:cs typeface="Arial"/>
              </a:rPr>
              <a:t>: Harmonizing </a:t>
            </a:r>
            <a:r>
              <a:rPr lang="en-US" sz="1800" dirty="0">
                <a:latin typeface="Arial"/>
                <a:cs typeface="Arial"/>
              </a:rPr>
              <a:t>datasets to </a:t>
            </a:r>
            <a:r>
              <a:rPr lang="en-US" dirty="0">
                <a:latin typeface="Arial"/>
                <a:cs typeface="Arial"/>
              </a:rPr>
              <a:t>high-resolution </a:t>
            </a:r>
          </a:p>
        </p:txBody>
      </p:sp>
      <p:sp>
        <p:nvSpPr>
          <p:cNvPr id="3" name="TextBox 2">
            <a:extLst>
              <a:ext uri="{FF2B5EF4-FFF2-40B4-BE49-F238E27FC236}">
                <a16:creationId xmlns:a16="http://schemas.microsoft.com/office/drawing/2014/main" id="{47362F07-4913-5AB4-655D-190F6C4B7BB8}"/>
              </a:ext>
            </a:extLst>
          </p:cNvPr>
          <p:cNvSpPr txBox="1"/>
          <p:nvPr/>
        </p:nvSpPr>
        <p:spPr>
          <a:xfrm>
            <a:off x="6024776" y="6425834"/>
            <a:ext cx="3182315" cy="430887"/>
          </a:xfrm>
          <a:prstGeom prst="rect">
            <a:avLst/>
          </a:prstGeom>
          <a:noFill/>
        </p:spPr>
        <p:txBody>
          <a:bodyPr wrap="square" lIns="91440" tIns="45720" rIns="91440" bIns="45720" rtlCol="0" anchor="t">
            <a:spAutoFit/>
          </a:bodyPr>
          <a:lstStyle/>
          <a:p>
            <a:r>
              <a:rPr lang="en-US" sz="1100" i="1">
                <a:latin typeface="Arial"/>
                <a:cs typeface="Arial"/>
              </a:rPr>
              <a:t>*Developed by Ariel Wang &amp; Xing Weng in Veg APD</a:t>
            </a:r>
          </a:p>
        </p:txBody>
      </p:sp>
    </p:spTree>
    <p:extLst>
      <p:ext uri="{BB962C8B-B14F-4D97-AF65-F5344CB8AC3E}">
        <p14:creationId xmlns:p14="http://schemas.microsoft.com/office/powerpoint/2010/main" val="3666602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92C4EE77-FE88-166F-8FBC-34CBAAD6B816}"/>
              </a:ext>
            </a:extLst>
          </p:cNvPr>
          <p:cNvSpPr/>
          <p:nvPr/>
        </p:nvSpPr>
        <p:spPr>
          <a:xfrm>
            <a:off x="4333874" y="489304"/>
            <a:ext cx="7210425" cy="6063896"/>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
        <p:nvSpPr>
          <p:cNvPr id="55" name="Rectangle 54">
            <a:extLst>
              <a:ext uri="{FF2B5EF4-FFF2-40B4-BE49-F238E27FC236}">
                <a16:creationId xmlns:a16="http://schemas.microsoft.com/office/drawing/2014/main" id="{E5C7310A-3226-177F-2301-3DE6D935F21A}"/>
              </a:ext>
            </a:extLst>
          </p:cNvPr>
          <p:cNvSpPr/>
          <p:nvPr/>
        </p:nvSpPr>
        <p:spPr>
          <a:xfrm>
            <a:off x="0" y="8125"/>
            <a:ext cx="3495674" cy="6849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6509" y="2472351"/>
            <a:ext cx="3748692" cy="11552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70000"/>
              </a:lnSpc>
            </a:pPr>
            <a:r>
              <a:rPr lang="en-US" sz="3600" b="1">
                <a:solidFill>
                  <a:schemeClr val="accent1">
                    <a:lumMod val="50000"/>
                  </a:schemeClr>
                </a:solidFill>
                <a:latin typeface="Arial"/>
                <a:cs typeface="Calibri Light"/>
              </a:rPr>
              <a:t>Business Motivation</a:t>
            </a:r>
          </a:p>
        </p:txBody>
      </p:sp>
      <p:sp>
        <p:nvSpPr>
          <p:cNvPr id="3" name="Slide Number Placeholder 2">
            <a:extLst>
              <a:ext uri="{FF2B5EF4-FFF2-40B4-BE49-F238E27FC236}">
                <a16:creationId xmlns:a16="http://schemas.microsoft.com/office/drawing/2014/main" id="{CD848677-760A-76BD-3CD9-CFD89965D462}"/>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6</a:t>
            </a:fld>
            <a:endParaRPr lang="en-US" noProof="0">
              <a:latin typeface="Arial"/>
              <a:cs typeface="Arial"/>
            </a:endParaRPr>
          </a:p>
        </p:txBody>
      </p:sp>
      <p:graphicFrame>
        <p:nvGraphicFramePr>
          <p:cNvPr id="12" name="Diagram 11">
            <a:extLst>
              <a:ext uri="{FF2B5EF4-FFF2-40B4-BE49-F238E27FC236}">
                <a16:creationId xmlns:a16="http://schemas.microsoft.com/office/drawing/2014/main" id="{ADEE726F-7E49-178D-0C5B-D383F77FC99D}"/>
              </a:ext>
            </a:extLst>
          </p:cNvPr>
          <p:cNvGraphicFramePr/>
          <p:nvPr/>
        </p:nvGraphicFramePr>
        <p:xfrm>
          <a:off x="4789084" y="665003"/>
          <a:ext cx="6336116" cy="490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Oval 15">
            <a:extLst>
              <a:ext uri="{FF2B5EF4-FFF2-40B4-BE49-F238E27FC236}">
                <a16:creationId xmlns:a16="http://schemas.microsoft.com/office/drawing/2014/main" id="{1B10CDD7-504B-1C05-A4E1-1590360071E2}"/>
              </a:ext>
            </a:extLst>
          </p:cNvPr>
          <p:cNvSpPr/>
          <p:nvPr/>
        </p:nvSpPr>
        <p:spPr>
          <a:xfrm>
            <a:off x="4644798" y="527404"/>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i="1">
                <a:solidFill>
                  <a:schemeClr val="tx1"/>
                </a:solidFill>
                <a:latin typeface="Arial"/>
                <a:cs typeface="Arial"/>
              </a:rPr>
              <a:t>Env. Clustering</a:t>
            </a:r>
          </a:p>
        </p:txBody>
      </p:sp>
      <p:sp>
        <p:nvSpPr>
          <p:cNvPr id="27" name="Oval 26">
            <a:extLst>
              <a:ext uri="{FF2B5EF4-FFF2-40B4-BE49-F238E27FC236}">
                <a16:creationId xmlns:a16="http://schemas.microsoft.com/office/drawing/2014/main" id="{3D06C40A-A0F5-6376-063E-518E3CA29771}"/>
              </a:ext>
            </a:extLst>
          </p:cNvPr>
          <p:cNvSpPr/>
          <p:nvPr/>
        </p:nvSpPr>
        <p:spPr>
          <a:xfrm>
            <a:off x="9932110" y="565504"/>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i="1">
                <a:solidFill>
                  <a:schemeClr val="tx1"/>
                </a:solidFill>
                <a:latin typeface="Arial"/>
                <a:cs typeface="Arial"/>
              </a:rPr>
              <a:t>Other Env. Model</a:t>
            </a:r>
          </a:p>
        </p:txBody>
      </p:sp>
      <p:sp>
        <p:nvSpPr>
          <p:cNvPr id="28" name="Oval 27">
            <a:extLst>
              <a:ext uri="{FF2B5EF4-FFF2-40B4-BE49-F238E27FC236}">
                <a16:creationId xmlns:a16="http://schemas.microsoft.com/office/drawing/2014/main" id="{3481FD7F-0A3C-C3F2-E212-06D782EF337B}"/>
              </a:ext>
            </a:extLst>
          </p:cNvPr>
          <p:cNvSpPr/>
          <p:nvPr/>
        </p:nvSpPr>
        <p:spPr>
          <a:xfrm>
            <a:off x="4644798" y="5086689"/>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i="1">
                <a:solidFill>
                  <a:schemeClr val="tx1"/>
                </a:solidFill>
                <a:latin typeface="Arial"/>
                <a:cs typeface="Arial"/>
              </a:rPr>
              <a:t>Disease Models</a:t>
            </a:r>
          </a:p>
        </p:txBody>
      </p:sp>
      <p:sp>
        <p:nvSpPr>
          <p:cNvPr id="29" name="Oval 28">
            <a:extLst>
              <a:ext uri="{FF2B5EF4-FFF2-40B4-BE49-F238E27FC236}">
                <a16:creationId xmlns:a16="http://schemas.microsoft.com/office/drawing/2014/main" id="{F11D93C6-7A0E-5736-A537-81CF1CD2CEF1}"/>
              </a:ext>
            </a:extLst>
          </p:cNvPr>
          <p:cNvSpPr/>
          <p:nvPr/>
        </p:nvSpPr>
        <p:spPr>
          <a:xfrm>
            <a:off x="9932111" y="5126562"/>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i="1">
                <a:solidFill>
                  <a:schemeClr val="tx1"/>
                </a:solidFill>
                <a:latin typeface="Arial"/>
                <a:cs typeface="Arial"/>
              </a:rPr>
              <a:t>Crop Models</a:t>
            </a:r>
          </a:p>
        </p:txBody>
      </p:sp>
      <p:pic>
        <p:nvPicPr>
          <p:cNvPr id="59" name="Picture 58" descr="A picture containing circle, graphics, font, symbol&#10;&#10;Description automatically generated">
            <a:extLst>
              <a:ext uri="{FF2B5EF4-FFF2-40B4-BE49-F238E27FC236}">
                <a16:creationId xmlns:a16="http://schemas.microsoft.com/office/drawing/2014/main" id="{401BF96B-9F88-6753-ACCB-A56A59B79E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044" y="360516"/>
            <a:ext cx="409975" cy="409975"/>
          </a:xfrm>
          <a:prstGeom prst="rect">
            <a:avLst/>
          </a:prstGeom>
        </p:spPr>
      </p:pic>
    </p:spTree>
    <p:extLst>
      <p:ext uri="{BB962C8B-B14F-4D97-AF65-F5344CB8AC3E}">
        <p14:creationId xmlns:p14="http://schemas.microsoft.com/office/powerpoint/2010/main" val="2055594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667310" y="156726"/>
            <a:ext cx="11626706" cy="10378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chemeClr val="accent1">
                    <a:lumMod val="50000"/>
                  </a:schemeClr>
                </a:solidFill>
                <a:latin typeface="Arial"/>
                <a:cs typeface="Calibri Light"/>
              </a:rPr>
              <a:t>Technical Motivation: Improving </a:t>
            </a:r>
            <a:r>
              <a:rPr lang="en-US" sz="3200" b="1">
                <a:solidFill>
                  <a:schemeClr val="accent1">
                    <a:lumMod val="50000"/>
                  </a:schemeClr>
                </a:solidFill>
                <a:latin typeface="Arial"/>
                <a:ea typeface="+mj-lt"/>
                <a:cs typeface="+mj-lt"/>
              </a:rPr>
              <a:t>Weather Data Resolution</a:t>
            </a:r>
            <a:endParaRPr lang="en-US" sz="3200">
              <a:solidFill>
                <a:schemeClr val="accent1">
                  <a:lumMod val="50000"/>
                </a:schemeClr>
              </a:solidFill>
              <a:latin typeface="Arial"/>
              <a:cs typeface="Calibri Light"/>
            </a:endParaRPr>
          </a:p>
        </p:txBody>
      </p:sp>
      <p:sp>
        <p:nvSpPr>
          <p:cNvPr id="4" name="Text Placeholder 3">
            <a:extLst>
              <a:ext uri="{FF2B5EF4-FFF2-40B4-BE49-F238E27FC236}">
                <a16:creationId xmlns:a16="http://schemas.microsoft.com/office/drawing/2014/main" id="{6E725962-AA6E-3764-10EC-09E349BF7BE0}"/>
              </a:ext>
            </a:extLst>
          </p:cNvPr>
          <p:cNvSpPr txBox="1">
            <a:spLocks/>
          </p:cNvSpPr>
          <p:nvPr/>
        </p:nvSpPr>
        <p:spPr>
          <a:xfrm>
            <a:off x="1060582" y="1093019"/>
            <a:ext cx="10721224" cy="404636"/>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Arial"/>
                <a:cs typeface="Arial"/>
              </a:rPr>
              <a:t>ECMWF Reanalysis V5 (ERA5) : Low spatial resolution (28km); Extended (1979-present) daily temporal records.  </a:t>
            </a:r>
          </a:p>
        </p:txBody>
      </p:sp>
      <p:grpSp>
        <p:nvGrpSpPr>
          <p:cNvPr id="54" name="Group 53">
            <a:extLst>
              <a:ext uri="{FF2B5EF4-FFF2-40B4-BE49-F238E27FC236}">
                <a16:creationId xmlns:a16="http://schemas.microsoft.com/office/drawing/2014/main" id="{BB036D7E-F778-81C0-0B79-7BED73A349C2}"/>
              </a:ext>
            </a:extLst>
          </p:cNvPr>
          <p:cNvGrpSpPr/>
          <p:nvPr/>
        </p:nvGrpSpPr>
        <p:grpSpPr>
          <a:xfrm>
            <a:off x="945773" y="2777672"/>
            <a:ext cx="4265472" cy="3881764"/>
            <a:chOff x="945773" y="2573478"/>
            <a:chExt cx="4265472" cy="3881764"/>
          </a:xfrm>
        </p:grpSpPr>
        <p:pic>
          <p:nvPicPr>
            <p:cNvPr id="7" name="Picture 6">
              <a:extLst>
                <a:ext uri="{FF2B5EF4-FFF2-40B4-BE49-F238E27FC236}">
                  <a16:creationId xmlns:a16="http://schemas.microsoft.com/office/drawing/2014/main" id="{7CB43FD0-7529-53F8-DE4C-8971F32C0E9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272034" y="2573478"/>
              <a:ext cx="2868544" cy="3381863"/>
            </a:xfrm>
            <a:prstGeom prst="rect">
              <a:avLst/>
            </a:prstGeom>
          </p:spPr>
        </p:pic>
        <p:sp>
          <p:nvSpPr>
            <p:cNvPr id="12" name="TextBox 11">
              <a:extLst>
                <a:ext uri="{FF2B5EF4-FFF2-40B4-BE49-F238E27FC236}">
                  <a16:creationId xmlns:a16="http://schemas.microsoft.com/office/drawing/2014/main" id="{48DBBE49-ED73-2254-0BE5-A295569002D1}"/>
                </a:ext>
              </a:extLst>
            </p:cNvPr>
            <p:cNvSpPr txBox="1"/>
            <p:nvPr/>
          </p:nvSpPr>
          <p:spPr>
            <a:xfrm>
              <a:off x="2325411" y="6085910"/>
              <a:ext cx="2885834" cy="369332"/>
            </a:xfrm>
            <a:prstGeom prst="rect">
              <a:avLst/>
            </a:prstGeom>
            <a:noFill/>
          </p:spPr>
          <p:txBody>
            <a:bodyPr wrap="square" lIns="91440" tIns="45720" rIns="91440" bIns="45720" rtlCol="0" anchor="t">
              <a:spAutoFit/>
            </a:bodyPr>
            <a:lstStyle/>
            <a:p>
              <a:r>
                <a:rPr lang="en-US">
                  <a:latin typeface="Arial"/>
                  <a:cs typeface="Arial"/>
                </a:rPr>
                <a:t>ERA5 Max Temperature</a:t>
              </a:r>
            </a:p>
          </p:txBody>
        </p:sp>
        <p:sp>
          <p:nvSpPr>
            <p:cNvPr id="16" name="Rectangle 15">
              <a:extLst>
                <a:ext uri="{FF2B5EF4-FFF2-40B4-BE49-F238E27FC236}">
                  <a16:creationId xmlns:a16="http://schemas.microsoft.com/office/drawing/2014/main" id="{C730CBBA-5438-1BB7-FC3E-835A799152A0}"/>
                </a:ext>
              </a:extLst>
            </p:cNvPr>
            <p:cNvSpPr/>
            <p:nvPr/>
          </p:nvSpPr>
          <p:spPr>
            <a:xfrm>
              <a:off x="1294960" y="3804065"/>
              <a:ext cx="404324" cy="3732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cxnSp>
          <p:nvCxnSpPr>
            <p:cNvPr id="18" name="Straight Arrow Connector 17">
              <a:extLst>
                <a:ext uri="{FF2B5EF4-FFF2-40B4-BE49-F238E27FC236}">
                  <a16:creationId xmlns:a16="http://schemas.microsoft.com/office/drawing/2014/main" id="{07513E80-F135-F75D-61DE-762C4E521C01}"/>
                </a:ext>
              </a:extLst>
            </p:cNvPr>
            <p:cNvCxnSpPr>
              <a:cxnSpLocks/>
            </p:cNvCxnSpPr>
            <p:nvPr/>
          </p:nvCxnSpPr>
          <p:spPr>
            <a:xfrm>
              <a:off x="1288204" y="3682534"/>
              <a:ext cx="404324"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9FFD83C-8840-6874-DB1C-744A00C84368}"/>
                </a:ext>
              </a:extLst>
            </p:cNvPr>
            <p:cNvCxnSpPr>
              <a:cxnSpLocks/>
            </p:cNvCxnSpPr>
            <p:nvPr/>
          </p:nvCxnSpPr>
          <p:spPr>
            <a:xfrm>
              <a:off x="1222627" y="3804065"/>
              <a:ext cx="0" cy="373224"/>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6272827-6FD3-C491-ECC5-616854B9DA40}"/>
                </a:ext>
              </a:extLst>
            </p:cNvPr>
            <p:cNvSpPr txBox="1"/>
            <p:nvPr/>
          </p:nvSpPr>
          <p:spPr>
            <a:xfrm>
              <a:off x="1229771" y="3403600"/>
              <a:ext cx="615818" cy="276999"/>
            </a:xfrm>
            <a:prstGeom prst="rect">
              <a:avLst/>
            </a:prstGeom>
            <a:noFill/>
          </p:spPr>
          <p:txBody>
            <a:bodyPr wrap="square" lIns="91440" tIns="45720" rIns="91440" bIns="45720" rtlCol="0" anchor="t">
              <a:spAutoFit/>
            </a:bodyPr>
            <a:lstStyle/>
            <a:p>
              <a:r>
                <a:rPr lang="en-US" sz="1200">
                  <a:latin typeface="Arial"/>
                  <a:cs typeface="Arial"/>
                </a:rPr>
                <a:t>28 km</a:t>
              </a:r>
            </a:p>
          </p:txBody>
        </p:sp>
        <p:sp>
          <p:nvSpPr>
            <p:cNvPr id="24" name="TextBox 23">
              <a:extLst>
                <a:ext uri="{FF2B5EF4-FFF2-40B4-BE49-F238E27FC236}">
                  <a16:creationId xmlns:a16="http://schemas.microsoft.com/office/drawing/2014/main" id="{892028F1-03AC-5FA8-36F5-F9D01ABDD6FF}"/>
                </a:ext>
              </a:extLst>
            </p:cNvPr>
            <p:cNvSpPr txBox="1"/>
            <p:nvPr/>
          </p:nvSpPr>
          <p:spPr>
            <a:xfrm rot="16200000">
              <a:off x="776039" y="3823075"/>
              <a:ext cx="616467" cy="276999"/>
            </a:xfrm>
            <a:prstGeom prst="rect">
              <a:avLst/>
            </a:prstGeom>
            <a:noFill/>
          </p:spPr>
          <p:txBody>
            <a:bodyPr wrap="square" lIns="91440" tIns="45720" rIns="91440" bIns="45720" rtlCol="0" anchor="t">
              <a:spAutoFit/>
            </a:bodyPr>
            <a:lstStyle/>
            <a:p>
              <a:r>
                <a:rPr lang="en-US" sz="1200">
                  <a:latin typeface="Arial"/>
                  <a:cs typeface="Arial"/>
                </a:rPr>
                <a:t>28 km</a:t>
              </a:r>
            </a:p>
          </p:txBody>
        </p:sp>
        <p:cxnSp>
          <p:nvCxnSpPr>
            <p:cNvPr id="26" name="Straight Connector 25">
              <a:extLst>
                <a:ext uri="{FF2B5EF4-FFF2-40B4-BE49-F238E27FC236}">
                  <a16:creationId xmlns:a16="http://schemas.microsoft.com/office/drawing/2014/main" id="{19C52438-EE45-AE90-9EA4-ED6A028292A6}"/>
                </a:ext>
              </a:extLst>
            </p:cNvPr>
            <p:cNvCxnSpPr>
              <a:cxnSpLocks/>
            </p:cNvCxnSpPr>
            <p:nvPr/>
          </p:nvCxnSpPr>
          <p:spPr>
            <a:xfrm flipV="1">
              <a:off x="1721644" y="3596292"/>
              <a:ext cx="837406" cy="206852"/>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BC8538-234E-E8A2-4C0F-B973AC20E6EA}"/>
                </a:ext>
              </a:extLst>
            </p:cNvPr>
            <p:cNvCxnSpPr>
              <a:cxnSpLocks/>
            </p:cNvCxnSpPr>
            <p:nvPr/>
          </p:nvCxnSpPr>
          <p:spPr>
            <a:xfrm flipV="1">
              <a:off x="1721644" y="3752850"/>
              <a:ext cx="837406" cy="42443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CEC16733-1ABE-46CA-52CB-ECABAFEA4AB2}"/>
              </a:ext>
            </a:extLst>
          </p:cNvPr>
          <p:cNvGrpSpPr/>
          <p:nvPr/>
        </p:nvGrpSpPr>
        <p:grpSpPr>
          <a:xfrm>
            <a:off x="5301591" y="2777673"/>
            <a:ext cx="3992196" cy="3908427"/>
            <a:chOff x="5301591" y="2573479"/>
            <a:chExt cx="3992196" cy="3908427"/>
          </a:xfrm>
        </p:grpSpPr>
        <p:pic>
          <p:nvPicPr>
            <p:cNvPr id="11" name="Picture 10">
              <a:extLst>
                <a:ext uri="{FF2B5EF4-FFF2-40B4-BE49-F238E27FC236}">
                  <a16:creationId xmlns:a16="http://schemas.microsoft.com/office/drawing/2014/main" id="{99001C14-7520-EAB3-55CF-A680DB6371B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26028" y="2573479"/>
              <a:ext cx="2798219" cy="3381864"/>
            </a:xfrm>
            <a:prstGeom prst="rect">
              <a:avLst/>
            </a:prstGeom>
          </p:spPr>
        </p:pic>
        <p:sp>
          <p:nvSpPr>
            <p:cNvPr id="13" name="TextBox 12">
              <a:extLst>
                <a:ext uri="{FF2B5EF4-FFF2-40B4-BE49-F238E27FC236}">
                  <a16:creationId xmlns:a16="http://schemas.microsoft.com/office/drawing/2014/main" id="{ED40BAEA-6059-01BF-513C-63213A436B11}"/>
                </a:ext>
              </a:extLst>
            </p:cNvPr>
            <p:cNvSpPr txBox="1"/>
            <p:nvPr/>
          </p:nvSpPr>
          <p:spPr>
            <a:xfrm>
              <a:off x="6709208" y="6112574"/>
              <a:ext cx="2584579" cy="369332"/>
            </a:xfrm>
            <a:prstGeom prst="rect">
              <a:avLst/>
            </a:prstGeom>
            <a:noFill/>
          </p:spPr>
          <p:txBody>
            <a:bodyPr wrap="square" lIns="91440" tIns="45720" rIns="91440" bIns="45720" rtlCol="0" anchor="t">
              <a:spAutoFit/>
            </a:bodyPr>
            <a:lstStyle/>
            <a:p>
              <a:r>
                <a:rPr lang="en-US">
                  <a:latin typeface="Arial"/>
                  <a:cs typeface="Arial"/>
                </a:rPr>
                <a:t>TWC Max Temperature</a:t>
              </a:r>
            </a:p>
          </p:txBody>
        </p:sp>
        <p:sp>
          <p:nvSpPr>
            <p:cNvPr id="32" name="Rectangle 31">
              <a:extLst>
                <a:ext uri="{FF2B5EF4-FFF2-40B4-BE49-F238E27FC236}">
                  <a16:creationId xmlns:a16="http://schemas.microsoft.com/office/drawing/2014/main" id="{396805B4-5D00-3916-0629-59FE4F96CC1D}"/>
                </a:ext>
              </a:extLst>
            </p:cNvPr>
            <p:cNvSpPr/>
            <p:nvPr/>
          </p:nvSpPr>
          <p:spPr>
            <a:xfrm>
              <a:off x="5650711" y="3804065"/>
              <a:ext cx="119390" cy="12797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cxnSp>
          <p:nvCxnSpPr>
            <p:cNvPr id="33" name="Straight Arrow Connector 32">
              <a:extLst>
                <a:ext uri="{FF2B5EF4-FFF2-40B4-BE49-F238E27FC236}">
                  <a16:creationId xmlns:a16="http://schemas.microsoft.com/office/drawing/2014/main" id="{C078DE34-47CB-6319-2B6A-A04B4EA24757}"/>
                </a:ext>
              </a:extLst>
            </p:cNvPr>
            <p:cNvCxnSpPr>
              <a:cxnSpLocks/>
            </p:cNvCxnSpPr>
            <p:nvPr/>
          </p:nvCxnSpPr>
          <p:spPr>
            <a:xfrm>
              <a:off x="5631656" y="3724275"/>
              <a:ext cx="164307"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E86880E-E220-4190-F201-7B65AC6F7224}"/>
                </a:ext>
              </a:extLst>
            </p:cNvPr>
            <p:cNvCxnSpPr>
              <a:cxnSpLocks/>
            </p:cNvCxnSpPr>
            <p:nvPr/>
          </p:nvCxnSpPr>
          <p:spPr>
            <a:xfrm>
              <a:off x="5588689" y="3803144"/>
              <a:ext cx="0" cy="15843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92304CE-0573-15AF-4177-D11426B8D75D}"/>
                </a:ext>
              </a:extLst>
            </p:cNvPr>
            <p:cNvSpPr txBox="1"/>
            <p:nvPr/>
          </p:nvSpPr>
          <p:spPr>
            <a:xfrm>
              <a:off x="5496478" y="3433783"/>
              <a:ext cx="615818" cy="276999"/>
            </a:xfrm>
            <a:prstGeom prst="rect">
              <a:avLst/>
            </a:prstGeom>
            <a:noFill/>
          </p:spPr>
          <p:txBody>
            <a:bodyPr wrap="square" lIns="91440" tIns="45720" rIns="91440" bIns="45720" rtlCol="0" anchor="t">
              <a:spAutoFit/>
            </a:bodyPr>
            <a:lstStyle/>
            <a:p>
              <a:r>
                <a:rPr lang="en-US" sz="1200">
                  <a:latin typeface="Arial"/>
                  <a:cs typeface="Arial"/>
                </a:rPr>
                <a:t>4 km</a:t>
              </a:r>
            </a:p>
          </p:txBody>
        </p:sp>
        <p:sp>
          <p:nvSpPr>
            <p:cNvPr id="36" name="TextBox 35">
              <a:extLst>
                <a:ext uri="{FF2B5EF4-FFF2-40B4-BE49-F238E27FC236}">
                  <a16:creationId xmlns:a16="http://schemas.microsoft.com/office/drawing/2014/main" id="{EFBE61BD-D473-5ED1-C858-519CD9430199}"/>
                </a:ext>
              </a:extLst>
            </p:cNvPr>
            <p:cNvSpPr txBox="1"/>
            <p:nvPr/>
          </p:nvSpPr>
          <p:spPr>
            <a:xfrm rot="16200000">
              <a:off x="5131857" y="3664644"/>
              <a:ext cx="616467" cy="276999"/>
            </a:xfrm>
            <a:prstGeom prst="rect">
              <a:avLst/>
            </a:prstGeom>
            <a:noFill/>
          </p:spPr>
          <p:txBody>
            <a:bodyPr wrap="square" lIns="91440" tIns="45720" rIns="91440" bIns="45720" rtlCol="0" anchor="t">
              <a:spAutoFit/>
            </a:bodyPr>
            <a:lstStyle/>
            <a:p>
              <a:r>
                <a:rPr lang="en-US" sz="1200">
                  <a:latin typeface="Arial"/>
                  <a:cs typeface="Arial"/>
                </a:rPr>
                <a:t>4 km</a:t>
              </a:r>
            </a:p>
          </p:txBody>
        </p:sp>
        <p:cxnSp>
          <p:nvCxnSpPr>
            <p:cNvPr id="37" name="Straight Connector 36">
              <a:extLst>
                <a:ext uri="{FF2B5EF4-FFF2-40B4-BE49-F238E27FC236}">
                  <a16:creationId xmlns:a16="http://schemas.microsoft.com/office/drawing/2014/main" id="{8CE2CF49-69C9-0D19-D608-1B2C09CD0DB2}"/>
                </a:ext>
              </a:extLst>
            </p:cNvPr>
            <p:cNvCxnSpPr>
              <a:cxnSpLocks/>
            </p:cNvCxnSpPr>
            <p:nvPr/>
          </p:nvCxnSpPr>
          <p:spPr>
            <a:xfrm flipV="1">
              <a:off x="5770101" y="3376613"/>
              <a:ext cx="771193" cy="427452"/>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54A347-56A4-652E-9941-A303D8B638A2}"/>
                </a:ext>
              </a:extLst>
            </p:cNvPr>
            <p:cNvCxnSpPr>
              <a:cxnSpLocks/>
            </p:cNvCxnSpPr>
            <p:nvPr/>
          </p:nvCxnSpPr>
          <p:spPr>
            <a:xfrm flipV="1">
              <a:off x="5777243" y="3403599"/>
              <a:ext cx="781129" cy="522504"/>
            </a:xfrm>
            <a:prstGeom prst="line">
              <a:avLst/>
            </a:prstGeom>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15E99825-C9AC-1D6E-A93B-EE359DEB615C}"/>
              </a:ext>
            </a:extLst>
          </p:cNvPr>
          <p:cNvSpPr/>
          <p:nvPr/>
        </p:nvSpPr>
        <p:spPr>
          <a:xfrm>
            <a:off x="945772" y="2642647"/>
            <a:ext cx="8274428" cy="406109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atin typeface="Arial"/>
              <a:cs typeface="Arial"/>
            </a:endParaRPr>
          </a:p>
        </p:txBody>
      </p:sp>
      <p:cxnSp>
        <p:nvCxnSpPr>
          <p:cNvPr id="50" name="Straight Arrow Connector 49">
            <a:extLst>
              <a:ext uri="{FF2B5EF4-FFF2-40B4-BE49-F238E27FC236}">
                <a16:creationId xmlns:a16="http://schemas.microsoft.com/office/drawing/2014/main" id="{9D61E925-395E-6D9C-EFC3-81B44599AF0F}"/>
              </a:ext>
            </a:extLst>
          </p:cNvPr>
          <p:cNvCxnSpPr>
            <a:cxnSpLocks/>
            <a:stCxn id="48" idx="3"/>
            <a:endCxn id="51" idx="1"/>
          </p:cNvCxnSpPr>
          <p:nvPr/>
        </p:nvCxnSpPr>
        <p:spPr>
          <a:xfrm flipV="1">
            <a:off x="9220200" y="4671696"/>
            <a:ext cx="1076325" cy="14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F0B8A31B-42FA-0224-8592-5D33531B2824}"/>
              </a:ext>
            </a:extLst>
          </p:cNvPr>
          <p:cNvSpPr txBox="1"/>
          <p:nvPr/>
        </p:nvSpPr>
        <p:spPr>
          <a:xfrm>
            <a:off x="10296525" y="3794533"/>
            <a:ext cx="1693587" cy="1754326"/>
          </a:xfrm>
          <a:prstGeom prst="rect">
            <a:avLst/>
          </a:prstGeom>
          <a:noFill/>
        </p:spPr>
        <p:txBody>
          <a:bodyPr wrap="square" lIns="91440" tIns="45720" rIns="91440" bIns="45720" rtlCol="0" anchor="t">
            <a:spAutoFit/>
          </a:bodyPr>
          <a:lstStyle/>
          <a:p>
            <a:pPr algn="ctr"/>
            <a:r>
              <a:rPr lang="en-US">
                <a:latin typeface="Arial"/>
                <a:cs typeface="Arial"/>
              </a:rPr>
              <a:t>Framework Interpolated high resolution (4km) daily weather datasets</a:t>
            </a:r>
          </a:p>
        </p:txBody>
      </p:sp>
      <p:sp>
        <p:nvSpPr>
          <p:cNvPr id="2" name="Text Placeholder 3">
            <a:extLst>
              <a:ext uri="{FF2B5EF4-FFF2-40B4-BE49-F238E27FC236}">
                <a16:creationId xmlns:a16="http://schemas.microsoft.com/office/drawing/2014/main" id="{C8283E70-F220-0EF3-63D9-8EACFDCC07A6}"/>
              </a:ext>
            </a:extLst>
          </p:cNvPr>
          <p:cNvSpPr txBox="1">
            <a:spLocks/>
          </p:cNvSpPr>
          <p:nvPr/>
        </p:nvSpPr>
        <p:spPr>
          <a:xfrm>
            <a:off x="1060582" y="1631429"/>
            <a:ext cx="10427122" cy="875675"/>
          </a:xfrm>
          <a:prstGeom prst="rect">
            <a:avLst/>
          </a:prstGeom>
        </p:spPr>
        <p:txBody>
          <a:bodyPr lIns="91440" tIns="45720" rIns="91440" bIns="4572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latin typeface="Arial"/>
                <a:cs typeface="Arial"/>
              </a:rPr>
              <a:t>The Weather Company (TWC): </a:t>
            </a:r>
          </a:p>
          <a:p>
            <a:pPr lvl="1">
              <a:buFont typeface="Courier New" panose="02070309020205020404" pitchFamily="49" charset="0"/>
              <a:buChar char="o"/>
            </a:pPr>
            <a:r>
              <a:rPr lang="en-US" sz="1600">
                <a:latin typeface="Arial"/>
                <a:cs typeface="Arial"/>
              </a:rPr>
              <a:t>Historical : High spatial resolution (4km); Limited (2015-2023) daily temporal records.</a:t>
            </a:r>
          </a:p>
          <a:p>
            <a:pPr lvl="1">
              <a:buFont typeface="Courier New" panose="02070309020205020404" pitchFamily="49" charset="0"/>
              <a:buChar char="o"/>
            </a:pPr>
            <a:r>
              <a:rPr lang="en-US" sz="1600">
                <a:latin typeface="Arial"/>
                <a:cs typeface="Arial"/>
              </a:rPr>
              <a:t>Hi-Res Precipitation : High spatial resolution (8km); Limited (2015-2023) daily temporal records.</a:t>
            </a:r>
          </a:p>
        </p:txBody>
      </p:sp>
      <p:sp>
        <p:nvSpPr>
          <p:cNvPr id="5" name="TextBox 4">
            <a:extLst>
              <a:ext uri="{FF2B5EF4-FFF2-40B4-BE49-F238E27FC236}">
                <a16:creationId xmlns:a16="http://schemas.microsoft.com/office/drawing/2014/main" id="{78336494-07A2-AFEF-44BC-F6BB3B326DA1}"/>
              </a:ext>
            </a:extLst>
          </p:cNvPr>
          <p:cNvSpPr txBox="1"/>
          <p:nvPr/>
        </p:nvSpPr>
        <p:spPr>
          <a:xfrm>
            <a:off x="3488770" y="2930350"/>
            <a:ext cx="1590853" cy="369332"/>
          </a:xfrm>
          <a:prstGeom prst="rect">
            <a:avLst/>
          </a:prstGeom>
          <a:solidFill>
            <a:schemeClr val="accent5">
              <a:lumMod val="40000"/>
              <a:lumOff val="60000"/>
            </a:schemeClr>
          </a:solidFill>
        </p:spPr>
        <p:txBody>
          <a:bodyPr wrap="square" lIns="91440" tIns="45720" rIns="91440" bIns="45720" rtlCol="0" anchor="t">
            <a:spAutoFit/>
          </a:bodyPr>
          <a:lstStyle/>
          <a:p>
            <a:r>
              <a:rPr lang="en-US">
                <a:latin typeface="Arial"/>
                <a:cs typeface="Arial"/>
              </a:rPr>
              <a:t>Input Variable</a:t>
            </a:r>
          </a:p>
        </p:txBody>
      </p:sp>
      <p:sp>
        <p:nvSpPr>
          <p:cNvPr id="6" name="TextBox 5">
            <a:extLst>
              <a:ext uri="{FF2B5EF4-FFF2-40B4-BE49-F238E27FC236}">
                <a16:creationId xmlns:a16="http://schemas.microsoft.com/office/drawing/2014/main" id="{02E82B1F-8C1E-18D3-20EF-F680A1F852F8}"/>
              </a:ext>
            </a:extLst>
          </p:cNvPr>
          <p:cNvSpPr txBox="1"/>
          <p:nvPr/>
        </p:nvSpPr>
        <p:spPr>
          <a:xfrm>
            <a:off x="7101003" y="2930350"/>
            <a:ext cx="1633093" cy="369332"/>
          </a:xfrm>
          <a:prstGeom prst="rect">
            <a:avLst/>
          </a:prstGeom>
          <a:solidFill>
            <a:schemeClr val="accent6">
              <a:lumMod val="40000"/>
              <a:lumOff val="60000"/>
            </a:schemeClr>
          </a:solidFill>
        </p:spPr>
        <p:txBody>
          <a:bodyPr wrap="square" lIns="91440" tIns="45720" rIns="91440" bIns="45720" rtlCol="0" anchor="t">
            <a:spAutoFit/>
          </a:bodyPr>
          <a:lstStyle/>
          <a:p>
            <a:r>
              <a:rPr lang="en-US">
                <a:latin typeface="Arial"/>
                <a:cs typeface="Arial"/>
              </a:rPr>
              <a:t>Training Data</a:t>
            </a:r>
          </a:p>
        </p:txBody>
      </p:sp>
      <p:sp>
        <p:nvSpPr>
          <p:cNvPr id="8" name="Slide Number Placeholder 7">
            <a:extLst>
              <a:ext uri="{FF2B5EF4-FFF2-40B4-BE49-F238E27FC236}">
                <a16:creationId xmlns:a16="http://schemas.microsoft.com/office/drawing/2014/main" id="{CB0C19E4-1189-79AC-0F7A-7BEC20992E77}"/>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7</a:t>
            </a:fld>
            <a:endParaRPr lang="en-US" noProof="0">
              <a:latin typeface="Arial"/>
              <a:cs typeface="Arial"/>
            </a:endParaRPr>
          </a:p>
        </p:txBody>
      </p:sp>
      <p:grpSp>
        <p:nvGrpSpPr>
          <p:cNvPr id="28" name="Group 27">
            <a:extLst>
              <a:ext uri="{FF2B5EF4-FFF2-40B4-BE49-F238E27FC236}">
                <a16:creationId xmlns:a16="http://schemas.microsoft.com/office/drawing/2014/main" id="{CF4A64E6-4814-A528-A185-C4967DF9B577}"/>
              </a:ext>
            </a:extLst>
          </p:cNvPr>
          <p:cNvGrpSpPr/>
          <p:nvPr/>
        </p:nvGrpSpPr>
        <p:grpSpPr>
          <a:xfrm>
            <a:off x="12643" y="3006311"/>
            <a:ext cx="867697" cy="2924583"/>
            <a:chOff x="12643" y="2802117"/>
            <a:chExt cx="867697" cy="2924583"/>
          </a:xfrm>
        </p:grpSpPr>
        <p:pic>
          <p:nvPicPr>
            <p:cNvPr id="22" name="Picture 21" descr="A yellow and green rectangle&#10;&#10;Description automatically generated">
              <a:extLst>
                <a:ext uri="{FF2B5EF4-FFF2-40B4-BE49-F238E27FC236}">
                  <a16:creationId xmlns:a16="http://schemas.microsoft.com/office/drawing/2014/main" id="{00D24C8B-9622-D661-731F-2D9D96E1D3D5}"/>
                </a:ext>
              </a:extLst>
            </p:cNvPr>
            <p:cNvPicPr>
              <a:picLocks noChangeAspect="1"/>
            </p:cNvPicPr>
            <p:nvPr/>
          </p:nvPicPr>
          <p:blipFill rotWithShape="1">
            <a:blip r:embed="rId5">
              <a:extLst>
                <a:ext uri="{28A0092B-C50C-407E-A947-70E740481C1C}">
                  <a14:useLocalDpi xmlns:a14="http://schemas.microsoft.com/office/drawing/2010/main" val="0"/>
                </a:ext>
              </a:extLst>
            </a:blip>
            <a:srcRect l="9143" r="16177"/>
            <a:stretch/>
          </p:blipFill>
          <p:spPr>
            <a:xfrm>
              <a:off x="332547" y="2802117"/>
              <a:ext cx="547793" cy="2924583"/>
            </a:xfrm>
            <a:prstGeom prst="rect">
              <a:avLst/>
            </a:prstGeom>
          </p:spPr>
        </p:pic>
        <p:sp>
          <p:nvSpPr>
            <p:cNvPr id="25" name="TextBox 24">
              <a:extLst>
                <a:ext uri="{FF2B5EF4-FFF2-40B4-BE49-F238E27FC236}">
                  <a16:creationId xmlns:a16="http://schemas.microsoft.com/office/drawing/2014/main" id="{6DE7AC48-BFBE-6DB8-F329-F8493A883501}"/>
                </a:ext>
              </a:extLst>
            </p:cNvPr>
            <p:cNvSpPr txBox="1"/>
            <p:nvPr/>
          </p:nvSpPr>
          <p:spPr>
            <a:xfrm rot="16200000">
              <a:off x="-299798" y="3757262"/>
              <a:ext cx="994213" cy="369332"/>
            </a:xfrm>
            <a:prstGeom prst="rect">
              <a:avLst/>
            </a:prstGeom>
            <a:noFill/>
          </p:spPr>
          <p:txBody>
            <a:bodyPr wrap="square" lIns="91440" tIns="45720" rIns="91440" bIns="45720" rtlCol="0" anchor="t">
              <a:spAutoFit/>
            </a:bodyPr>
            <a:lstStyle/>
            <a:p>
              <a:r>
                <a:rPr lang="en-US">
                  <a:latin typeface="Arial"/>
                  <a:cs typeface="Arial"/>
                </a:rPr>
                <a:t>deg C</a:t>
              </a:r>
            </a:p>
          </p:txBody>
        </p:sp>
      </p:grpSp>
    </p:spTree>
    <p:extLst>
      <p:ext uri="{BB962C8B-B14F-4D97-AF65-F5344CB8AC3E}">
        <p14:creationId xmlns:p14="http://schemas.microsoft.com/office/powerpoint/2010/main" val="268688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w</p:attrName>
                                        </p:attrNameLst>
                                      </p:cBhvr>
                                      <p:tavLst>
                                        <p:tav tm="0">
                                          <p:val>
                                            <p:fltVal val="0"/>
                                          </p:val>
                                        </p:tav>
                                        <p:tav tm="100000">
                                          <p:val>
                                            <p:strVal val="#ppt_w"/>
                                          </p:val>
                                        </p:tav>
                                      </p:tavLst>
                                    </p:anim>
                                    <p:anim calcmode="lin" valueType="num">
                                      <p:cBhvr>
                                        <p:cTn id="16" dur="500" fill="hold"/>
                                        <p:tgtEl>
                                          <p:spTgt spid="6"/>
                                        </p:tgtEl>
                                        <p:attrNameLst>
                                          <p:attrName>ppt_h</p:attrName>
                                        </p:attrNameLst>
                                      </p:cBhvr>
                                      <p:tavLst>
                                        <p:tav tm="0">
                                          <p:val>
                                            <p:fltVal val="0"/>
                                          </p:val>
                                        </p:tav>
                                        <p:tav tm="100000">
                                          <p:val>
                                            <p:strVal val="#ppt_h"/>
                                          </p:val>
                                        </p:tav>
                                      </p:tavLst>
                                    </p:anim>
                                    <p:animEffect transition="in" filter="fade">
                                      <p:cBhvr>
                                        <p:cTn id="17" dur="500"/>
                                        <p:tgtEl>
                                          <p:spTgt spid="6"/>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500" fill="hold"/>
                                        <p:tgtEl>
                                          <p:spTgt spid="5"/>
                                        </p:tgtEl>
                                        <p:attrNameLst>
                                          <p:attrName>ppt_w</p:attrName>
                                        </p:attrNameLst>
                                      </p:cBhvr>
                                      <p:tavLst>
                                        <p:tav tm="0">
                                          <p:val>
                                            <p:fltVal val="0"/>
                                          </p:val>
                                        </p:tav>
                                        <p:tav tm="100000">
                                          <p:val>
                                            <p:strVal val="#ppt_w"/>
                                          </p:val>
                                        </p:tav>
                                      </p:tavLst>
                                    </p:anim>
                                    <p:anim calcmode="lin" valueType="num">
                                      <p:cBhvr>
                                        <p:cTn id="21" dur="500" fill="hold"/>
                                        <p:tgtEl>
                                          <p:spTgt spid="5"/>
                                        </p:tgtEl>
                                        <p:attrNameLst>
                                          <p:attrName>ppt_h</p:attrName>
                                        </p:attrNameLst>
                                      </p:cBhvr>
                                      <p:tavLst>
                                        <p:tav tm="0">
                                          <p:val>
                                            <p:fltVal val="0"/>
                                          </p:val>
                                        </p:tav>
                                        <p:tav tm="100000">
                                          <p:val>
                                            <p:strVal val="#ppt_h"/>
                                          </p:val>
                                        </p:tav>
                                      </p:tavLst>
                                    </p:anim>
                                    <p:animEffect transition="in" filter="fade">
                                      <p:cBhvr>
                                        <p:cTn id="22" dur="500"/>
                                        <p:tgtEl>
                                          <p:spTgt spid="5"/>
                                        </p:tgtEl>
                                      </p:cBhvr>
                                    </p:animEffect>
                                  </p:childTnLst>
                                </p:cTn>
                              </p:par>
                            </p:childTnLst>
                          </p:cTn>
                        </p:par>
                        <p:par>
                          <p:cTn id="23" fill="hold">
                            <p:stCondLst>
                              <p:cond delay="500"/>
                            </p:stCondLst>
                            <p:childTnLst>
                              <p:par>
                                <p:cTn id="24" presetID="21" presetClass="entr" presetSubtype="1" fill="hold" grpId="0" nodeType="after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wheel(1)">
                                      <p:cBhvr>
                                        <p:cTn id="26" dur="1000"/>
                                        <p:tgtEl>
                                          <p:spTgt spid="48"/>
                                        </p:tgtEl>
                                      </p:cBhvr>
                                    </p:animEffect>
                                  </p:childTnLst>
                                </p:cTn>
                              </p:par>
                            </p:childTnLst>
                          </p:cTn>
                        </p:par>
                        <p:par>
                          <p:cTn id="27" fill="hold">
                            <p:stCondLst>
                              <p:cond delay="1500"/>
                            </p:stCondLst>
                            <p:childTnLst>
                              <p:par>
                                <p:cTn id="28" presetID="21" presetClass="entr" presetSubtype="1" fill="hold" nodeType="after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wheel(1)">
                                      <p:cBhvr>
                                        <p:cTn id="30" dur="1000"/>
                                        <p:tgtEl>
                                          <p:spTgt spid="50"/>
                                        </p:tgtEl>
                                      </p:cBhvr>
                                    </p:animEffect>
                                  </p:childTnLst>
                                </p:cTn>
                              </p:par>
                            </p:childTnLst>
                          </p:cTn>
                        </p:par>
                        <p:par>
                          <p:cTn id="31" fill="hold">
                            <p:stCondLst>
                              <p:cond delay="2500"/>
                            </p:stCondLst>
                            <p:childTnLst>
                              <p:par>
                                <p:cTn id="32" presetID="21" presetClass="entr" presetSubtype="1" fill="hold" grpId="0" nodeType="after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wheel(1)">
                                      <p:cBhvr>
                                        <p:cTn id="34"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1" grpId="0"/>
      <p:bldP spid="2" grpId="0"/>
      <p:bldP spid="5" grpId="0" animBg="1"/>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90209" y="2030140"/>
            <a:ext cx="9611581" cy="174516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600" b="1" kern="1200">
                <a:solidFill>
                  <a:srgbClr val="10384F"/>
                </a:solidFill>
                <a:latin typeface="Arial"/>
                <a:cs typeface="Arial"/>
              </a:rPr>
              <a:t>2. Framework for Analysis-Ready Datasets (ARD)</a:t>
            </a:r>
          </a:p>
        </p:txBody>
      </p:sp>
      <p:sp>
        <p:nvSpPr>
          <p:cNvPr id="2" name="Slide Number Placeholder 1">
            <a:extLst>
              <a:ext uri="{FF2B5EF4-FFF2-40B4-BE49-F238E27FC236}">
                <a16:creationId xmlns:a16="http://schemas.microsoft.com/office/drawing/2014/main" id="{9619A94D-10F3-1522-3B83-A842AFB54B8D}"/>
              </a:ext>
            </a:extLst>
          </p:cNvPr>
          <p:cNvSpPr>
            <a:spLocks noGrp="1"/>
          </p:cNvSpPr>
          <p:nvPr>
            <p:ph type="sldNum" sz="quarter" idx="12"/>
          </p:nvPr>
        </p:nvSpPr>
        <p:spPr/>
        <p:txBody>
          <a:bodyPr/>
          <a:lstStyle/>
          <a:p>
            <a:fld id="{EEAD9179-7A6B-4268-BEB2-F3B8EB06115B}" type="slidenum">
              <a:rPr lang="en-US" noProof="0" smtClean="0"/>
              <a:t>8</a:t>
            </a:fld>
            <a:endParaRPr lang="en-US" noProof="0"/>
          </a:p>
        </p:txBody>
      </p:sp>
      <p:cxnSp>
        <p:nvCxnSpPr>
          <p:cNvPr id="3" name="Straight Connector 2">
            <a:extLst>
              <a:ext uri="{FF2B5EF4-FFF2-40B4-BE49-F238E27FC236}">
                <a16:creationId xmlns:a16="http://schemas.microsoft.com/office/drawing/2014/main" id="{416952F7-7C49-FE2E-C801-193C7F10F654}"/>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913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BF234329-B064-93EF-EC61-328EC3B53004}"/>
              </a:ext>
            </a:extLst>
          </p:cNvPr>
          <p:cNvGraphicFramePr>
            <a:graphicFrameLocks noGrp="1"/>
          </p:cNvGraphicFramePr>
          <p:nvPr>
            <p:extLst>
              <p:ext uri="{D42A27DB-BD31-4B8C-83A1-F6EECF244321}">
                <p14:modId xmlns:p14="http://schemas.microsoft.com/office/powerpoint/2010/main" val="4270596570"/>
              </p:ext>
            </p:extLst>
          </p:nvPr>
        </p:nvGraphicFramePr>
        <p:xfrm>
          <a:off x="965790" y="2959395"/>
          <a:ext cx="10685127" cy="3491645"/>
        </p:xfrm>
        <a:graphic>
          <a:graphicData uri="http://schemas.openxmlformats.org/drawingml/2006/table">
            <a:tbl>
              <a:tblPr firstRow="1" bandRow="1">
                <a:tableStyleId>{F5AB1C69-6EDB-4FF4-983F-18BD219EF322}</a:tableStyleId>
              </a:tblPr>
              <a:tblGrid>
                <a:gridCol w="2671282">
                  <a:extLst>
                    <a:ext uri="{9D8B030D-6E8A-4147-A177-3AD203B41FA5}">
                      <a16:colId xmlns:a16="http://schemas.microsoft.com/office/drawing/2014/main" val="1386311937"/>
                    </a:ext>
                  </a:extLst>
                </a:gridCol>
                <a:gridCol w="3026391">
                  <a:extLst>
                    <a:ext uri="{9D8B030D-6E8A-4147-A177-3AD203B41FA5}">
                      <a16:colId xmlns:a16="http://schemas.microsoft.com/office/drawing/2014/main" val="2571288349"/>
                    </a:ext>
                  </a:extLst>
                </a:gridCol>
                <a:gridCol w="3129139">
                  <a:extLst>
                    <a:ext uri="{9D8B030D-6E8A-4147-A177-3AD203B41FA5}">
                      <a16:colId xmlns:a16="http://schemas.microsoft.com/office/drawing/2014/main" val="2533983606"/>
                    </a:ext>
                  </a:extLst>
                </a:gridCol>
                <a:gridCol w="1858315">
                  <a:extLst>
                    <a:ext uri="{9D8B030D-6E8A-4147-A177-3AD203B41FA5}">
                      <a16:colId xmlns:a16="http://schemas.microsoft.com/office/drawing/2014/main" val="1744202356"/>
                    </a:ext>
                  </a:extLst>
                </a:gridCol>
              </a:tblGrid>
              <a:tr h="406884">
                <a:tc>
                  <a:txBody>
                    <a:bodyPr/>
                    <a:lstStyle/>
                    <a:p>
                      <a:pPr algn="ctr"/>
                      <a:r>
                        <a:rPr lang="en-US" sz="1800"/>
                        <a:t>Data</a:t>
                      </a:r>
                    </a:p>
                  </a:txBody>
                  <a:tcPr anchor="ctr"/>
                </a:tc>
                <a:tc>
                  <a:txBody>
                    <a:bodyPr/>
                    <a:lstStyle/>
                    <a:p>
                      <a:pPr algn="ctr"/>
                      <a:r>
                        <a:rPr lang="en-US" sz="1800"/>
                        <a:t>Variables</a:t>
                      </a:r>
                    </a:p>
                  </a:txBody>
                  <a:tcPr anchor="ctr"/>
                </a:tc>
                <a:tc>
                  <a:txBody>
                    <a:bodyPr/>
                    <a:lstStyle/>
                    <a:p>
                      <a:pPr algn="ctr"/>
                      <a:r>
                        <a:rPr lang="en-US" sz="1800"/>
                        <a:t>Source</a:t>
                      </a:r>
                    </a:p>
                  </a:txBody>
                  <a:tcPr anchor="ctr"/>
                </a:tc>
                <a:tc>
                  <a:txBody>
                    <a:bodyPr/>
                    <a:lstStyle/>
                    <a:p>
                      <a:pPr algn="ctr"/>
                      <a:r>
                        <a:rPr lang="en-US" sz="1800"/>
                        <a:t>Resolution</a:t>
                      </a:r>
                    </a:p>
                  </a:txBody>
                  <a:tcPr anchor="ctr"/>
                </a:tc>
                <a:extLst>
                  <a:ext uri="{0D108BD9-81ED-4DB2-BD59-A6C34878D82A}">
                    <a16:rowId xmlns:a16="http://schemas.microsoft.com/office/drawing/2014/main" val="3072231151"/>
                  </a:ext>
                </a:extLst>
              </a:tr>
              <a:tr h="993559">
                <a:tc>
                  <a:txBody>
                    <a:bodyPr/>
                    <a:lstStyle/>
                    <a:p>
                      <a:pPr algn="ctr"/>
                      <a:r>
                        <a:rPr lang="en-US" sz="1600"/>
                        <a:t>Weather</a:t>
                      </a:r>
                    </a:p>
                  </a:txBody>
                  <a:tcPr anchor="ctr"/>
                </a:tc>
                <a:tc>
                  <a:txBody>
                    <a:bodyPr/>
                    <a:lstStyle/>
                    <a:p>
                      <a:pPr algn="ctr"/>
                      <a:r>
                        <a:rPr lang="en-US" sz="1600"/>
                        <a:t>Temperature, </a:t>
                      </a:r>
                    </a:p>
                    <a:p>
                      <a:pPr lvl="0" algn="ctr">
                        <a:buNone/>
                      </a:pPr>
                      <a:r>
                        <a:rPr lang="en-US" sz="1600"/>
                        <a:t>Humidity, </a:t>
                      </a:r>
                    </a:p>
                    <a:p>
                      <a:pPr lvl="0" algn="ctr">
                        <a:buNone/>
                      </a:pPr>
                      <a:r>
                        <a:rPr lang="en-US" sz="1600"/>
                        <a:t>precipitation...</a:t>
                      </a:r>
                    </a:p>
                  </a:txBody>
                  <a:tcPr anchor="ctr"/>
                </a:tc>
                <a:tc>
                  <a:txBody>
                    <a:bodyPr/>
                    <a:lstStyle/>
                    <a:p>
                      <a:pPr algn="ctr"/>
                      <a:r>
                        <a:rPr lang="en-US" sz="1600"/>
                        <a:t>ERA5</a:t>
                      </a:r>
                    </a:p>
                    <a:p>
                      <a:pPr lvl="0" algn="ctr">
                        <a:buNone/>
                      </a:pPr>
                      <a:r>
                        <a:rPr lang="en-US" sz="1600"/>
                        <a:t>TWC</a:t>
                      </a:r>
                    </a:p>
                  </a:txBody>
                  <a:tcPr anchor="ctr"/>
                </a:tc>
                <a:tc>
                  <a:txBody>
                    <a:bodyPr/>
                    <a:lstStyle/>
                    <a:p>
                      <a:pPr algn="ctr"/>
                      <a:r>
                        <a:rPr lang="en-US" sz="1600"/>
                        <a:t>28km</a:t>
                      </a:r>
                    </a:p>
                    <a:p>
                      <a:pPr lvl="0" algn="ctr">
                        <a:buNone/>
                      </a:pPr>
                      <a:r>
                        <a:rPr lang="en-US" sz="1600"/>
                        <a:t>4km</a:t>
                      </a:r>
                    </a:p>
                  </a:txBody>
                  <a:tcPr anchor="ctr"/>
                </a:tc>
                <a:extLst>
                  <a:ext uri="{0D108BD9-81ED-4DB2-BD59-A6C34878D82A}">
                    <a16:rowId xmlns:a16="http://schemas.microsoft.com/office/drawing/2014/main" val="908493871"/>
                  </a:ext>
                </a:extLst>
              </a:tr>
              <a:tr h="993559">
                <a:tc>
                  <a:txBody>
                    <a:bodyPr/>
                    <a:lstStyle/>
                    <a:p>
                      <a:pPr algn="ctr"/>
                      <a:r>
                        <a:rPr lang="en-US" sz="1600"/>
                        <a:t>Soil</a:t>
                      </a:r>
                    </a:p>
                  </a:txBody>
                  <a:tcPr anchor="ctr"/>
                </a:tc>
                <a:tc>
                  <a:txBody>
                    <a:bodyPr/>
                    <a:lstStyle/>
                    <a:p>
                      <a:pPr algn="ctr"/>
                      <a:r>
                        <a:rPr lang="en-US" sz="1600"/>
                        <a:t>Sand/Silt %, </a:t>
                      </a:r>
                    </a:p>
                    <a:p>
                      <a:pPr lvl="0" algn="ctr">
                        <a:buNone/>
                      </a:pPr>
                      <a:r>
                        <a:rPr lang="en-US" sz="1600"/>
                        <a:t>Bulk Density, </a:t>
                      </a:r>
                    </a:p>
                    <a:p>
                      <a:pPr lvl="0" algn="ctr">
                        <a:buNone/>
                      </a:pPr>
                      <a:r>
                        <a:rPr lang="en-US" sz="1600"/>
                        <a:t>Available Water Capacity...</a:t>
                      </a:r>
                    </a:p>
                  </a:txBody>
                  <a:tcPr anchor="ctr"/>
                </a:tc>
                <a:tc>
                  <a:txBody>
                    <a:bodyPr/>
                    <a:lstStyle/>
                    <a:p>
                      <a:pPr algn="ctr"/>
                      <a:r>
                        <a:rPr lang="en-US" sz="1600"/>
                        <a:t>Soil250</a:t>
                      </a:r>
                    </a:p>
                  </a:txBody>
                  <a:tcPr anchor="ctr"/>
                </a:tc>
                <a:tc>
                  <a:txBody>
                    <a:bodyPr/>
                    <a:lstStyle/>
                    <a:p>
                      <a:pPr algn="ctr"/>
                      <a:r>
                        <a:rPr lang="en-US" sz="1600"/>
                        <a:t>250m</a:t>
                      </a:r>
                    </a:p>
                  </a:txBody>
                  <a:tcPr anchor="ctr"/>
                </a:tc>
                <a:extLst>
                  <a:ext uri="{0D108BD9-81ED-4DB2-BD59-A6C34878D82A}">
                    <a16:rowId xmlns:a16="http://schemas.microsoft.com/office/drawing/2014/main" val="3108160871"/>
                  </a:ext>
                </a:extLst>
              </a:tr>
              <a:tr h="406884">
                <a:tc>
                  <a:txBody>
                    <a:bodyPr/>
                    <a:lstStyle/>
                    <a:p>
                      <a:pPr algn="ctr"/>
                      <a:r>
                        <a:rPr lang="en-US" sz="1600"/>
                        <a:t>Elevation</a:t>
                      </a:r>
                    </a:p>
                  </a:txBody>
                  <a:tcPr anchor="ctr"/>
                </a:tc>
                <a:tc>
                  <a:txBody>
                    <a:bodyPr/>
                    <a:lstStyle/>
                    <a:p>
                      <a:pPr algn="ctr"/>
                      <a:r>
                        <a:rPr lang="en-US" sz="1600"/>
                        <a:t>-</a:t>
                      </a:r>
                    </a:p>
                  </a:txBody>
                  <a:tcPr anchor="ctr"/>
                </a:tc>
                <a:tc>
                  <a:txBody>
                    <a:bodyPr/>
                    <a:lstStyle/>
                    <a:p>
                      <a:pPr algn="ctr"/>
                      <a:r>
                        <a:rPr lang="en-US" sz="1600"/>
                        <a:t>SRTM DEM</a:t>
                      </a:r>
                    </a:p>
                  </a:txBody>
                  <a:tcPr anchor="ctr"/>
                </a:tc>
                <a:tc>
                  <a:txBody>
                    <a:bodyPr/>
                    <a:lstStyle/>
                    <a:p>
                      <a:pPr algn="ctr"/>
                      <a:r>
                        <a:rPr lang="en-US" sz="1600"/>
                        <a:t>30m</a:t>
                      </a:r>
                    </a:p>
                  </a:txBody>
                  <a:tcPr anchor="ctr"/>
                </a:tc>
                <a:extLst>
                  <a:ext uri="{0D108BD9-81ED-4DB2-BD59-A6C34878D82A}">
                    <a16:rowId xmlns:a16="http://schemas.microsoft.com/office/drawing/2014/main" val="549776224"/>
                  </a:ext>
                </a:extLst>
              </a:tr>
              <a:tr h="690759">
                <a:tc>
                  <a:txBody>
                    <a:bodyPr/>
                    <a:lstStyle/>
                    <a:p>
                      <a:pPr algn="ctr"/>
                      <a:r>
                        <a:rPr lang="en-US" sz="1600"/>
                        <a:t>Land Surface Temperature</a:t>
                      </a:r>
                    </a:p>
                  </a:txBody>
                  <a:tcPr anchor="ctr"/>
                </a:tc>
                <a:tc>
                  <a:txBody>
                    <a:bodyPr/>
                    <a:lstStyle/>
                    <a:p>
                      <a:pPr algn="ctr"/>
                      <a:r>
                        <a:rPr lang="en-US" sz="1600"/>
                        <a:t>-</a:t>
                      </a:r>
                    </a:p>
                  </a:txBody>
                  <a:tcPr anchor="ctr"/>
                </a:tc>
                <a:tc>
                  <a:txBody>
                    <a:bodyPr/>
                    <a:lstStyle/>
                    <a:p>
                      <a:pPr algn="ctr"/>
                      <a:r>
                        <a:rPr lang="en-US" sz="1600"/>
                        <a:t>Satellite data: Planet Labs</a:t>
                      </a:r>
                    </a:p>
                  </a:txBody>
                  <a:tcPr anchor="ctr"/>
                </a:tc>
                <a:tc>
                  <a:txBody>
                    <a:bodyPr/>
                    <a:lstStyle/>
                    <a:p>
                      <a:pPr algn="ctr"/>
                      <a:r>
                        <a:rPr lang="en-US" sz="1600" dirty="0"/>
                        <a:t>100m</a:t>
                      </a:r>
                    </a:p>
                  </a:txBody>
                  <a:tcPr anchor="ctr"/>
                </a:tc>
                <a:extLst>
                  <a:ext uri="{0D108BD9-81ED-4DB2-BD59-A6C34878D82A}">
                    <a16:rowId xmlns:a16="http://schemas.microsoft.com/office/drawing/2014/main" val="1694263456"/>
                  </a:ext>
                </a:extLst>
              </a:tr>
            </a:tbl>
          </a:graphicData>
        </a:graphic>
      </p:graphicFrame>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accent1">
                    <a:lumMod val="50000"/>
                  </a:schemeClr>
                </a:solidFill>
                <a:latin typeface="Arial"/>
                <a:cs typeface="Calibri Light"/>
              </a:rPr>
              <a:t>ARD Requirement</a:t>
            </a:r>
          </a:p>
        </p:txBody>
      </p:sp>
      <p:sp>
        <p:nvSpPr>
          <p:cNvPr id="69" name="Oval 68">
            <a:extLst>
              <a:ext uri="{FF2B5EF4-FFF2-40B4-BE49-F238E27FC236}">
                <a16:creationId xmlns:a16="http://schemas.microsoft.com/office/drawing/2014/main" id="{1F2244A3-95C7-B48D-A6EF-2490C551608A}"/>
              </a:ext>
            </a:extLst>
          </p:cNvPr>
          <p:cNvSpPr/>
          <p:nvPr/>
        </p:nvSpPr>
        <p:spPr>
          <a:xfrm>
            <a:off x="1410696" y="3614265"/>
            <a:ext cx="1743075" cy="538623"/>
          </a:xfrm>
          <a:prstGeom prst="ellipse">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latin typeface="Arial"/>
              <a:cs typeface="Arial"/>
            </a:endParaRPr>
          </a:p>
        </p:txBody>
      </p:sp>
      <p:sp>
        <p:nvSpPr>
          <p:cNvPr id="2" name="Slide Number Placeholder 1">
            <a:extLst>
              <a:ext uri="{FF2B5EF4-FFF2-40B4-BE49-F238E27FC236}">
                <a16:creationId xmlns:a16="http://schemas.microsoft.com/office/drawing/2014/main" id="{6D7FCBD6-1C98-E9CE-93C6-53AC8BC673C5}"/>
              </a:ext>
            </a:extLst>
          </p:cNvPr>
          <p:cNvSpPr>
            <a:spLocks noGrp="1"/>
          </p:cNvSpPr>
          <p:nvPr>
            <p:ph type="sldNum" sz="quarter" idx="12"/>
          </p:nvPr>
        </p:nvSpPr>
        <p:spPr/>
        <p:txBody>
          <a:bodyPr/>
          <a:lstStyle/>
          <a:p>
            <a:fld id="{EEAD9179-7A6B-4268-BEB2-F3B8EB06115B}" type="slidenum">
              <a:rPr lang="en-US" noProof="0" dirty="0" smtClean="0">
                <a:latin typeface="Arial"/>
                <a:cs typeface="Arial"/>
              </a:rPr>
              <a:t>9</a:t>
            </a:fld>
            <a:endParaRPr lang="en-US" noProof="0">
              <a:latin typeface="Arial"/>
              <a:cs typeface="Arial"/>
            </a:endParaRPr>
          </a:p>
        </p:txBody>
      </p:sp>
      <p:sp>
        <p:nvSpPr>
          <p:cNvPr id="13" name="Text Placeholder 3">
            <a:extLst>
              <a:ext uri="{FF2B5EF4-FFF2-40B4-BE49-F238E27FC236}">
                <a16:creationId xmlns:a16="http://schemas.microsoft.com/office/drawing/2014/main" id="{23034FE2-7417-3F29-A02B-2C3001C86417}"/>
              </a:ext>
            </a:extLst>
          </p:cNvPr>
          <p:cNvSpPr txBox="1">
            <a:spLocks/>
          </p:cNvSpPr>
          <p:nvPr/>
        </p:nvSpPr>
        <p:spPr>
          <a:xfrm>
            <a:off x="1060581" y="1179097"/>
            <a:ext cx="10170558" cy="150185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Wingdings" panose="05000000000000000000" pitchFamily="2" charset="2"/>
              <a:buChar char="§"/>
            </a:pPr>
            <a:r>
              <a:rPr lang="en-US" sz="1800">
                <a:latin typeface="Arial"/>
                <a:cs typeface="Arial"/>
              </a:rPr>
              <a:t>Two Analysis-Ready Datasets (ARD) frameworks for different spatial resolutions-</a:t>
            </a:r>
            <a:endParaRPr lang="en-US" sz="1800">
              <a:cs typeface="Calibri"/>
            </a:endParaRPr>
          </a:p>
          <a:p>
            <a:pPr lvl="1">
              <a:lnSpc>
                <a:spcPct val="150000"/>
              </a:lnSpc>
              <a:buFont typeface="Wingdings" panose="05000000000000000000" pitchFamily="2" charset="2"/>
              <a:buChar char="ü"/>
            </a:pPr>
            <a:r>
              <a:rPr lang="en-US" sz="1800" i="1">
                <a:latin typeface="Arial"/>
                <a:cs typeface="Arial"/>
              </a:rPr>
              <a:t>4km Resolution Framework</a:t>
            </a:r>
          </a:p>
          <a:p>
            <a:pPr lvl="1">
              <a:lnSpc>
                <a:spcPct val="150000"/>
              </a:lnSpc>
              <a:buFont typeface="Wingdings" panose="05000000000000000000" pitchFamily="2" charset="2"/>
              <a:buChar char="ü"/>
            </a:pPr>
            <a:r>
              <a:rPr lang="en-US" sz="1800" i="1">
                <a:latin typeface="Arial"/>
                <a:cs typeface="Arial"/>
              </a:rPr>
              <a:t>100m Resolution Framework (</a:t>
            </a:r>
            <a:r>
              <a:rPr lang="en-US" sz="1800" b="1" i="1">
                <a:latin typeface="Arial"/>
                <a:cs typeface="Arial"/>
              </a:rPr>
              <a:t>with satellite data</a:t>
            </a:r>
            <a:r>
              <a:rPr lang="en-US" sz="1800" i="1">
                <a:latin typeface="Arial"/>
                <a:cs typeface="Arial"/>
              </a:rPr>
              <a:t>)</a:t>
            </a:r>
          </a:p>
          <a:p>
            <a:pPr marL="457200" lvl="1" indent="0">
              <a:lnSpc>
                <a:spcPct val="150000"/>
              </a:lnSpc>
              <a:buNone/>
            </a:pPr>
            <a:endParaRPr lang="en-US" sz="1400">
              <a:latin typeface="Arial"/>
              <a:cs typeface="Arial"/>
            </a:endParaRPr>
          </a:p>
        </p:txBody>
      </p:sp>
    </p:spTree>
    <p:extLst>
      <p:ext uri="{BB962C8B-B14F-4D97-AF65-F5344CB8AC3E}">
        <p14:creationId xmlns:p14="http://schemas.microsoft.com/office/powerpoint/2010/main" val="382852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XdGgQG8SHewGNVH9jbb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a4d292e-883c-434b-96e3-060cfff16c86" xsi:nil="true"/>
    <_dlc_ExpireDateSaved xmlns="http://schemas.microsoft.com/sharepoint/v3" xsi:nil="true"/>
    <lcf76f155ced4ddcb4097134ff3c332f xmlns="1466371e-9f00-4400-bf45-487a1127fc04">
      <Terms xmlns="http://schemas.microsoft.com/office/infopath/2007/PartnerControls"/>
    </lcf76f155ced4ddcb4097134ff3c332f>
    <_dlc_ExpireDate xmlns="http://schemas.microsoft.com/sharepoint/v3" xsi:nil="true"/>
    <_dlc_Exempt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AFBBAC6F419614D8F9C340ECCB410E4" ma:contentTypeVersion="14" ma:contentTypeDescription="Create a new document." ma:contentTypeScope="" ma:versionID="2761aa03386c19b65516cdf42a151c00">
  <xsd:schema xmlns:xsd="http://www.w3.org/2001/XMLSchema" xmlns:xs="http://www.w3.org/2001/XMLSchema" xmlns:p="http://schemas.microsoft.com/office/2006/metadata/properties" xmlns:ns1="http://schemas.microsoft.com/sharepoint/v3" xmlns:ns2="1a4d292e-883c-434b-96e3-060cfff16c86" xmlns:ns3="5d2d6348-5876-4cf1-ba3d-b6126e5790a6" xmlns:ns4="1466371e-9f00-4400-bf45-487a1127fc04" targetNamespace="http://schemas.microsoft.com/office/2006/metadata/properties" ma:root="true" ma:fieldsID="d20531107d3bdb09f557287e79a351dc" ns1:_="" ns2:_="" ns3:_="" ns4:_="">
    <xsd:import namespace="http://schemas.microsoft.com/sharepoint/v3"/>
    <xsd:import namespace="1a4d292e-883c-434b-96e3-060cfff16c86"/>
    <xsd:import namespace="5d2d6348-5876-4cf1-ba3d-b6126e5790a6"/>
    <xsd:import namespace="1466371e-9f00-4400-bf45-487a1127fc04"/>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SharedWithUsers" minOccurs="0"/>
                <xsd:element ref="ns3:SharedWithDetails"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lcf76f155ced4ddcb4097134ff3c332f" minOccurs="0"/>
                <xsd:element ref="ns4:MediaServiceLocation"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description="" ma:hidden="true" ma:list="{cef5aa78-aca2-4055-99f2-3c8467eed9f0}" ma:internalName="TaxCatchAll" ma:showField="CatchAllData" ma:web="5d2d6348-5876-4cf1-ba3d-b6126e5790a6">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description="" ma:hidden="true" ma:list="{cef5aa78-aca2-4055-99f2-3c8467eed9f0}" ma:internalName="TaxCatchAllLabel" ma:readOnly="true" ma:showField="CatchAllDataLabel" ma:web="5d2d6348-5876-4cf1-ba3d-b6126e5790a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2d6348-5876-4cf1-ba3d-b6126e5790a6"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66371e-9f00-4400-bf45-487a1127fc04" elementFormDefault="qualified">
    <xsd:import namespace="http://schemas.microsoft.com/office/2006/documentManagement/types"/>
    <xsd:import namespace="http://schemas.microsoft.com/office/infopath/2007/PartnerControls"/>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Tags" ma:index="19" nillable="true" ma:displayName="Tags"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Location" ma:index="25" nillable="true" ma:displayName="Location" ma:indexed="true" ma:internalName="MediaServiceLocation"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7bc43322-b630-4bac-8b27-31def233d1d0" ContentTypeId="0x0101" PreviousValue="false" LastSyncTimeStamp="2020-06-15T18:42:56.37Z"/>
</file>

<file path=customXml/itemProps1.xml><?xml version="1.0" encoding="utf-8"?>
<ds:datastoreItem xmlns:ds="http://schemas.openxmlformats.org/officeDocument/2006/customXml" ds:itemID="{359CBA8C-689E-44EA-A89F-5EB8B9B38C7F}">
  <ds:schemaRefs>
    <ds:schemaRef ds:uri="1466371e-9f00-4400-bf45-487a1127fc04"/>
    <ds:schemaRef ds:uri="1a4d292e-883c-434b-96e3-060cfff16c86"/>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5188F482-0942-43F1-97EB-0EACD76C7A30}">
  <ds:schemaRefs>
    <ds:schemaRef ds:uri="http://schemas.microsoft.com/sharepoint/v3/contenttype/forms"/>
  </ds:schemaRefs>
</ds:datastoreItem>
</file>

<file path=customXml/itemProps3.xml><?xml version="1.0" encoding="utf-8"?>
<ds:datastoreItem xmlns:ds="http://schemas.openxmlformats.org/officeDocument/2006/customXml" ds:itemID="{14235686-4026-42B5-995C-AFC57E7D71EF}">
  <ds:schemaRefs>
    <ds:schemaRef ds:uri="1466371e-9f00-4400-bf45-487a1127fc04"/>
    <ds:schemaRef ds:uri="1a4d292e-883c-434b-96e3-060cfff16c86"/>
    <ds:schemaRef ds:uri="5d2d6348-5876-4cf1-ba3d-b6126e5790a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886ACA76-EEA0-4321-9A8E-14FF4762CF25}">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130</TotalTime>
  <Words>4856</Words>
  <Application>Microsoft Office PowerPoint</Application>
  <PresentationFormat>Widescreen</PresentationFormat>
  <Paragraphs>670</Paragraphs>
  <Slides>46</Slides>
  <Notes>30</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4" baseType="lpstr">
      <vt:lpstr>Arial</vt:lpstr>
      <vt:lpstr>Calibri</vt:lpstr>
      <vt:lpstr>Calibri Light</vt:lpstr>
      <vt:lpstr>Courier New</vt:lpstr>
      <vt:lpstr>Courier New,monospace</vt:lpstr>
      <vt:lpstr>Wingdings</vt:lpstr>
      <vt:lpstr>Office Theme</vt:lpstr>
      <vt:lpstr>think-cell Slide</vt:lpstr>
      <vt:lpstr>Applications of Machine Learning in Improving Spatial Resolution of Modeled Weather Datase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y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s of Machine Learning in Improving Spatial Resolution of Modeled Weather Datasets</dc:title>
  <dc:creator>Md Fahim Hasan</dc:creator>
  <cp:lastModifiedBy>Md Fahim Hasan</cp:lastModifiedBy>
  <cp:revision>1</cp:revision>
  <dcterms:created xsi:type="dcterms:W3CDTF">2023-07-17T16:26:56Z</dcterms:created>
  <dcterms:modified xsi:type="dcterms:W3CDTF">2023-08-01T16:3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c76c141-ac86-40e5-abf2-c6f60e474cee_Enabled">
    <vt:lpwstr>true</vt:lpwstr>
  </property>
  <property fmtid="{D5CDD505-2E9C-101B-9397-08002B2CF9AE}" pid="3" name="MSIP_Label_2c76c141-ac86-40e5-abf2-c6f60e474cee_SetDate">
    <vt:lpwstr>2023-07-27T15:52:46Z</vt:lpwstr>
  </property>
  <property fmtid="{D5CDD505-2E9C-101B-9397-08002B2CF9AE}" pid="4" name="MSIP_Label_2c76c141-ac86-40e5-abf2-c6f60e474cee_Method">
    <vt:lpwstr>Privileged</vt:lpwstr>
  </property>
  <property fmtid="{D5CDD505-2E9C-101B-9397-08002B2CF9AE}" pid="5" name="MSIP_Label_2c76c141-ac86-40e5-abf2-c6f60e474cee_Name">
    <vt:lpwstr>2c76c141-ac86-40e5-abf2-c6f60e474ce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ActionId">
    <vt:lpwstr>a29a1b12-492d-48fe-ae6e-04cec74edbee</vt:lpwstr>
  </property>
  <property fmtid="{D5CDD505-2E9C-101B-9397-08002B2CF9AE}" pid="8" name="MSIP_Label_2c76c141-ac86-40e5-abf2-c6f60e474cee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RESTRICTED</vt:lpwstr>
  </property>
  <property fmtid="{D5CDD505-2E9C-101B-9397-08002B2CF9AE}" pid="11" name="ContentTypeId">
    <vt:lpwstr>0x010100EAFBBAC6F419614D8F9C340ECCB410E4</vt:lpwstr>
  </property>
  <property fmtid="{D5CDD505-2E9C-101B-9397-08002B2CF9AE}" pid="12" name="MediaServiceImageTags">
    <vt:lpwstr/>
  </property>
</Properties>
</file>